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5" r:id="rId1"/>
    <p:sldMasterId id="2147483684" r:id="rId2"/>
  </p:sldMasterIdLst>
  <p:notesMasterIdLst>
    <p:notesMasterId r:id="rId13"/>
  </p:notesMasterIdLst>
  <p:handoutMasterIdLst>
    <p:handoutMasterId r:id="rId14"/>
  </p:handoutMasterIdLst>
  <p:sldIdLst>
    <p:sldId id="307" r:id="rId3"/>
    <p:sldId id="452" r:id="rId4"/>
    <p:sldId id="508" r:id="rId5"/>
    <p:sldId id="471" r:id="rId6"/>
    <p:sldId id="510" r:id="rId7"/>
    <p:sldId id="509" r:id="rId8"/>
    <p:sldId id="469" r:id="rId9"/>
    <p:sldId id="512" r:id="rId10"/>
    <p:sldId id="513" r:id="rId11"/>
    <p:sldId id="514" r:id="rId12"/>
  </p:sldIdLst>
  <p:sldSz cx="9144000" cy="6858000" type="screen4x3"/>
  <p:notesSz cx="7315200" cy="96012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A73BC"/>
    <a:srgbClr val="1A73BB"/>
    <a:srgbClr val="CEE0F4"/>
    <a:srgbClr val="428608"/>
    <a:srgbClr val="356D07"/>
    <a:srgbClr val="2E91E2"/>
    <a:srgbClr val="FF1428"/>
    <a:srgbClr val="B85C00"/>
    <a:srgbClr val="FF8200"/>
    <a:srgbClr val="E6BA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14" autoAdjust="0"/>
    <p:restoredTop sz="88113" autoAdjust="0"/>
  </p:normalViewPr>
  <p:slideViewPr>
    <p:cSldViewPr snapToGrid="0">
      <p:cViewPr varScale="1">
        <p:scale>
          <a:sx n="60" d="100"/>
          <a:sy n="60" d="100"/>
        </p:scale>
        <p:origin x="-84" y="-372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5" d="100"/>
          <a:sy n="65" d="100"/>
        </p:scale>
        <p:origin x="1694" y="3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9" Type="http://schemas.microsoft.com/office/2016/11/relationships/changesInfo" Target="changesInfos/changesInfo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clId="Web-{B24F0980-BD3F-43FE-B145-0631734E53D1}"/>
    <pc:docChg chg="modSld">
      <pc:chgData name="" userId="" providerId="" clId="Web-{B24F0980-BD3F-43FE-B145-0631734E53D1}" dt="2018-05-15T16:11:22.589" v="4" actId="14100"/>
      <pc:docMkLst>
        <pc:docMk/>
      </pc:docMkLst>
      <pc:sldChg chg="modSp">
        <pc:chgData name="" userId="" providerId="" clId="Web-{B24F0980-BD3F-43FE-B145-0631734E53D1}" dt="2018-05-15T16:11:22.589" v="4" actId="14100"/>
        <pc:sldMkLst>
          <pc:docMk/>
          <pc:sldMk cId="3408835361" sldId="470"/>
        </pc:sldMkLst>
        <pc:graphicFrameChg chg="mod modGraphic">
          <ac:chgData name="" userId="" providerId="" clId="Web-{B24F0980-BD3F-43FE-B145-0631734E53D1}" dt="2018-05-15T16:11:22.589" v="4" actId="14100"/>
          <ac:graphicFrameMkLst>
            <pc:docMk/>
            <pc:sldMk cId="3408835361" sldId="470"/>
            <ac:graphicFrameMk id="7" creationId="{00000000-0000-0000-0000-000000000000}"/>
          </ac:graphicFrameMkLst>
        </pc:graphicFrameChg>
      </pc:sldChg>
    </pc:docChg>
  </pc:docChgLst>
  <pc:docChgLst>
    <pc:chgData clId="Web-{380C3EAA-D696-40B7-AC8B-10356D0C74C1}"/>
    <pc:docChg chg="modSld">
      <pc:chgData name="" userId="" providerId="" clId="Web-{380C3EAA-D696-40B7-AC8B-10356D0C74C1}" dt="2018-05-15T18:45:03.690" v="19"/>
      <pc:docMkLst>
        <pc:docMk/>
      </pc:docMkLst>
      <pc:sldChg chg="modSp">
        <pc:chgData name="" userId="" providerId="" clId="Web-{380C3EAA-D696-40B7-AC8B-10356D0C74C1}" dt="2018-05-15T18:45:03.690" v="19"/>
        <pc:sldMkLst>
          <pc:docMk/>
          <pc:sldMk cId="831888904" sldId="469"/>
        </pc:sldMkLst>
        <pc:graphicFrameChg chg="mod modGraphic">
          <ac:chgData name="" userId="" providerId="" clId="Web-{380C3EAA-D696-40B7-AC8B-10356D0C74C1}" dt="2018-05-15T18:45:03.690" v="19"/>
          <ac:graphicFrameMkLst>
            <pc:docMk/>
            <pc:sldMk cId="831888904" sldId="469"/>
            <ac:graphicFrameMk id="7" creationId="{00000000-0000-0000-0000-000000000000}"/>
          </ac:graphicFrameMkLst>
        </pc:graphicFrameChg>
      </pc:sldChg>
      <pc:sldChg chg="modSp">
        <pc:chgData name="" userId="" providerId="" clId="Web-{380C3EAA-D696-40B7-AC8B-10356D0C74C1}" dt="2018-05-15T18:33:05.046" v="2" actId="20577"/>
        <pc:sldMkLst>
          <pc:docMk/>
          <pc:sldMk cId="634980984" sldId="471"/>
        </pc:sldMkLst>
        <pc:spChg chg="mod">
          <ac:chgData name="" userId="" providerId="" clId="Web-{380C3EAA-D696-40B7-AC8B-10356D0C74C1}" dt="2018-05-15T18:33:05.046" v="2" actId="20577"/>
          <ac:spMkLst>
            <pc:docMk/>
            <pc:sldMk cId="634980984" sldId="471"/>
            <ac:spMk id="10" creationId="{00000000-0000-0000-0000-000000000000}"/>
          </ac:spMkLst>
        </pc:spChg>
      </pc:sldChg>
    </pc:docChg>
  </pc:docChgLst>
  <pc:docChgLst>
    <pc:chgData clId="Web-{5706C12B-5ADC-4DE7-96DE-BCFBEA868E9A}"/>
    <pc:docChg chg="modSld">
      <pc:chgData name="" userId="" providerId="" clId="Web-{5706C12B-5ADC-4DE7-96DE-BCFBEA868E9A}" dt="2018-05-15T16:07:10.677" v="327"/>
      <pc:docMkLst>
        <pc:docMk/>
      </pc:docMkLst>
      <pc:sldChg chg="modSp">
        <pc:chgData name="" userId="" providerId="" clId="Web-{5706C12B-5ADC-4DE7-96DE-BCFBEA868E9A}" dt="2018-05-15T15:38:34.711" v="6" actId="20577"/>
        <pc:sldMkLst>
          <pc:docMk/>
          <pc:sldMk cId="3221221956" sldId="452"/>
        </pc:sldMkLst>
        <pc:spChg chg="mod">
          <ac:chgData name="" userId="" providerId="" clId="Web-{5706C12B-5ADC-4DE7-96DE-BCFBEA868E9A}" dt="2018-05-15T15:38:34.711" v="6" actId="20577"/>
          <ac:spMkLst>
            <pc:docMk/>
            <pc:sldMk cId="3221221956" sldId="452"/>
            <ac:spMk id="5" creationId="{00000000-0000-0000-0000-000000000000}"/>
          </ac:spMkLst>
        </pc:spChg>
      </pc:sldChg>
      <pc:sldChg chg="modSp">
        <pc:chgData name="" userId="" providerId="" clId="Web-{5706C12B-5ADC-4DE7-96DE-BCFBEA868E9A}" dt="2018-05-15T16:07:10.677" v="327"/>
        <pc:sldMkLst>
          <pc:docMk/>
          <pc:sldMk cId="831888904" sldId="469"/>
        </pc:sldMkLst>
        <pc:spChg chg="mod">
          <ac:chgData name="" userId="" providerId="" clId="Web-{5706C12B-5ADC-4DE7-96DE-BCFBEA868E9A}" dt="2018-05-15T15:54:43.501" v="225" actId="1076"/>
          <ac:spMkLst>
            <pc:docMk/>
            <pc:sldMk cId="831888904" sldId="469"/>
            <ac:spMk id="4" creationId="{00000000-0000-0000-0000-000000000000}"/>
          </ac:spMkLst>
        </pc:spChg>
        <pc:graphicFrameChg chg="mod modGraphic">
          <ac:chgData name="" userId="" providerId="" clId="Web-{5706C12B-5ADC-4DE7-96DE-BCFBEA868E9A}" dt="2018-05-15T16:07:10.677" v="327"/>
          <ac:graphicFrameMkLst>
            <pc:docMk/>
            <pc:sldMk cId="831888904" sldId="469"/>
            <ac:graphicFrameMk id="7" creationId="{00000000-0000-0000-0000-000000000000}"/>
          </ac:graphicFrameMkLst>
        </pc:graphicFrameChg>
      </pc:sldChg>
    </pc:docChg>
  </pc:docChgLst>
  <pc:docChgLst>
    <pc:chgData clId="Web-{50A49967-29C1-4903-A2E8-242C2FC841CF}"/>
    <pc:docChg chg="modSld">
      <pc:chgData name="" userId="" providerId="" clId="Web-{50A49967-29C1-4903-A2E8-242C2FC841CF}" dt="2018-05-15T17:09:20.430" v="4"/>
      <pc:docMkLst>
        <pc:docMk/>
      </pc:docMkLst>
      <pc:sldChg chg="addSp delSp modSp">
        <pc:chgData name="" userId="" providerId="" clId="Web-{50A49967-29C1-4903-A2E8-242C2FC841CF}" dt="2018-05-15T17:09:20.430" v="4"/>
        <pc:sldMkLst>
          <pc:docMk/>
          <pc:sldMk cId="3408835361" sldId="470"/>
        </pc:sldMkLst>
        <pc:spChg chg="add del mod">
          <ac:chgData name="" userId="" providerId="" clId="Web-{50A49967-29C1-4903-A2E8-242C2FC841CF}" dt="2018-05-15T17:09:04.320" v="1"/>
          <ac:spMkLst>
            <pc:docMk/>
            <pc:sldMk cId="3408835361" sldId="470"/>
            <ac:spMk id="5" creationId="{F3424D1D-9A68-43DA-93E7-3E77555CAF8D}"/>
          </ac:spMkLst>
        </pc:spChg>
        <pc:spChg chg="add mod">
          <ac:chgData name="" userId="" providerId="" clId="Web-{50A49967-29C1-4903-A2E8-242C2FC841CF}" dt="2018-05-15T17:09:20.430" v="4"/>
          <ac:spMkLst>
            <pc:docMk/>
            <pc:sldMk cId="3408835361" sldId="470"/>
            <ac:spMk id="11" creationId="{CD2C73FF-5213-4356-BE3D-9522C4010B67}"/>
          </ac:spMkLst>
        </pc:spChg>
        <pc:graphicFrameChg chg="del">
          <ac:chgData name="" userId="" providerId="" clId="Web-{50A49967-29C1-4903-A2E8-242C2FC841CF}" dt="2018-05-15T17:09:02.617" v="0"/>
          <ac:graphicFrameMkLst>
            <pc:docMk/>
            <pc:sldMk cId="3408835361" sldId="470"/>
            <ac:graphicFrameMk id="7" creationId="{00000000-0000-0000-0000-000000000000}"/>
          </ac:graphicFrameMkLst>
        </pc:graphicFrameChg>
        <pc:picChg chg="add del mod ord">
          <ac:chgData name="" userId="" providerId="" clId="Web-{50A49967-29C1-4903-A2E8-242C2FC841CF}" dt="2018-05-15T17:09:20.430" v="4"/>
          <ac:picMkLst>
            <pc:docMk/>
            <pc:sldMk cId="3408835361" sldId="470"/>
            <ac:picMk id="8" creationId="{B5B311C3-AFA6-46F1-A9E8-03B298D7FA60}"/>
          </ac:picMkLst>
        </pc:picChg>
      </pc:sldChg>
    </pc:docChg>
  </pc:docChgLst>
  <pc:docChgLst>
    <pc:chgData clId="Web-{FA0BCAA2-3DCF-44DF-884F-2884881B7214}"/>
    <pc:docChg chg="modSld">
      <pc:chgData name="" userId="" providerId="" clId="Web-{FA0BCAA2-3DCF-44DF-884F-2884881B7214}" dt="2018-05-15T18:56:14.988" v="233" actId="20577"/>
      <pc:docMkLst>
        <pc:docMk/>
      </pc:docMkLst>
      <pc:sldChg chg="modSp">
        <pc:chgData name="" userId="" providerId="" clId="Web-{FA0BCAA2-3DCF-44DF-884F-2884881B7214}" dt="2018-05-15T18:56:12.363" v="231" actId="20577"/>
        <pc:sldMkLst>
          <pc:docMk/>
          <pc:sldMk cId="831888904" sldId="469"/>
        </pc:sldMkLst>
        <pc:spChg chg="mod">
          <ac:chgData name="" userId="" providerId="" clId="Web-{FA0BCAA2-3DCF-44DF-884F-2884881B7214}" dt="2018-05-15T18:56:12.363" v="231" actId="20577"/>
          <ac:spMkLst>
            <pc:docMk/>
            <pc:sldMk cId="831888904" sldId="469"/>
            <ac:spMk id="4" creationId="{00000000-0000-0000-0000-000000000000}"/>
          </ac:spMkLst>
        </pc:spChg>
        <pc:graphicFrameChg chg="mod modGraphic">
          <ac:chgData name="" userId="" providerId="" clId="Web-{FA0BCAA2-3DCF-44DF-884F-2884881B7214}" dt="2018-05-15T18:53:51.078" v="82"/>
          <ac:graphicFrameMkLst>
            <pc:docMk/>
            <pc:sldMk cId="831888904" sldId="469"/>
            <ac:graphicFrameMk id="7" creationId="{00000000-0000-0000-0000-000000000000}"/>
          </ac:graphicFrameMkLst>
        </pc:graphicFrameChg>
      </pc:sldChg>
    </pc:docChg>
  </pc:docChgLst>
  <pc:docChgLst>
    <pc:chgData clId="Web-{7438ECCC-84D2-4CAE-900A-3BEC787C53DF}"/>
    <pc:docChg chg="modSld">
      <pc:chgData name="" userId="" providerId="" clId="Web-{7438ECCC-84D2-4CAE-900A-3BEC787C53DF}" dt="2018-05-15T19:00:47.089" v="7" actId="14100"/>
      <pc:docMkLst>
        <pc:docMk/>
      </pc:docMkLst>
      <pc:sldChg chg="addSp delSp modSp">
        <pc:chgData name="" userId="" providerId="" clId="Web-{7438ECCC-84D2-4CAE-900A-3BEC787C53DF}" dt="2018-05-15T19:00:47.089" v="7" actId="14100"/>
        <pc:sldMkLst>
          <pc:docMk/>
          <pc:sldMk cId="3130038596" sldId="451"/>
        </pc:sldMkLst>
        <pc:picChg chg="del">
          <ac:chgData name="" userId="" providerId="" clId="Web-{7438ECCC-84D2-4CAE-900A-3BEC787C53DF}" dt="2018-05-15T18:57:43.928" v="0"/>
          <ac:picMkLst>
            <pc:docMk/>
            <pc:sldMk cId="3130038596" sldId="451"/>
            <ac:picMk id="2" creationId="{00000000-0000-0000-0000-000000000000}"/>
          </ac:picMkLst>
        </pc:picChg>
        <pc:picChg chg="add mod">
          <ac:chgData name="" userId="" providerId="" clId="Web-{7438ECCC-84D2-4CAE-900A-3BEC787C53DF}" dt="2018-05-15T19:00:47.089" v="7" actId="14100"/>
          <ac:picMkLst>
            <pc:docMk/>
            <pc:sldMk cId="3130038596" sldId="451"/>
            <ac:picMk id="4" creationId="{99C64E4F-8379-4FE8-9D69-E2FE9F961B32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49410C69-8424-454A-9A9D-1F72958914DC}" type="datetimeFigureOut">
              <a:rPr lang="en-US" smtClean="0"/>
              <a:t>8/13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743647B6-8B95-409E-9DDA-CFD4DEAE96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95956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0EF183C5-101D-4DF1-8EF3-7D65A5BF4C7D}" type="datetimeFigureOut">
              <a:rPr lang="en-US" smtClean="0"/>
              <a:t>8/13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97013" y="1200150"/>
            <a:ext cx="4321175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D4E49C31-F315-4CC2-911B-4A1877B85C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85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E49C31-F315-4CC2-911B-4A1877B85C9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15557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E49C31-F315-4CC2-911B-4A1877B85C9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0887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E49C31-F315-4CC2-911B-4A1877B85C91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8155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E49C31-F315-4CC2-911B-4A1877B85C9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33853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E49C31-F315-4CC2-911B-4A1877B85C9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41325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E49C31-F315-4CC2-911B-4A1877B85C91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88144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E49C31-F315-4CC2-911B-4A1877B85C91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07761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04316" y="6459792"/>
            <a:ext cx="9840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88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186775C4-FF83-4AA7-9695-AAC1C0A4B0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76575" y="6446837"/>
            <a:ext cx="3162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cap="all" baseline="0">
                <a:solidFill>
                  <a:schemeClr val="bg1">
                    <a:lumMod val="8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AFC 2.0:  AUTOMATED FARE COLLECTION</a:t>
            </a:r>
          </a:p>
        </p:txBody>
      </p:sp>
    </p:spTree>
    <p:extLst>
      <p:ext uri="{BB962C8B-B14F-4D97-AF65-F5344CB8AC3E}">
        <p14:creationId xmlns:p14="http://schemas.microsoft.com/office/powerpoint/2010/main" val="8452376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37452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18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1" y="6400800"/>
            <a:ext cx="9144000" cy="457200"/>
          </a:xfrm>
          <a:prstGeom prst="rect">
            <a:avLst/>
          </a:prstGeom>
          <a:solidFill>
            <a:srgbClr val="494F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15" y="6334316"/>
            <a:ext cx="9143989" cy="66484"/>
          </a:xfrm>
          <a:prstGeom prst="rect">
            <a:avLst/>
          </a:prstGeom>
          <a:solidFill>
            <a:srgbClr val="7880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205740" y="0"/>
            <a:ext cx="8743950" cy="81381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04316" y="6459792"/>
            <a:ext cx="9840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88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186775C4-FF83-4AA7-9695-AAC1C0A4B08C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05740" y="813816"/>
            <a:ext cx="874395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/>
          <p:cNvSpPr>
            <a:spLocks noGrp="1"/>
          </p:cNvSpPr>
          <p:nvPr>
            <p:ph type="body" idx="10"/>
          </p:nvPr>
        </p:nvSpPr>
        <p:spPr>
          <a:xfrm>
            <a:off x="205740" y="872801"/>
            <a:ext cx="8743950" cy="644272"/>
          </a:xfrm>
          <a:prstGeom prst="rect">
            <a:avLst/>
          </a:prstGeo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1350" cap="all" spc="150" baseline="0">
                <a:solidFill>
                  <a:schemeClr val="tx2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342884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49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1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29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18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064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"/>
          </p:nvPr>
        </p:nvSpPr>
        <p:spPr>
          <a:xfrm>
            <a:off x="205740" y="1627632"/>
            <a:ext cx="8743950" cy="458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rgbClr val="395185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284163" indent="-192088">
              <a:buClr>
                <a:srgbClr val="CEE0F4"/>
              </a:buClr>
              <a:buFont typeface="Wingdings" panose="05000000000000000000" pitchFamily="2" charset="2"/>
              <a:buChar char="§"/>
              <a:defRPr sz="14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457200" indent="-173038">
              <a:buClr>
                <a:srgbClr val="B0B5C0"/>
              </a:buClr>
              <a:buFont typeface="Calibri" panose="020F0502020204030204" pitchFamily="34" charset="0"/>
              <a:buChar char="‒"/>
              <a:defRPr sz="1100" baseline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685800" indent="-227013">
              <a:buClr>
                <a:srgbClr val="B0B5C0"/>
              </a:buClr>
              <a:buFont typeface="Courier New" panose="02070309020205020404" pitchFamily="49" charset="0"/>
              <a:buChar char="o"/>
              <a:tabLst/>
              <a:defRPr sz="11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2"/>
            <a:r>
              <a:rPr lang="en-US" dirty="0"/>
              <a:t>Third level </a:t>
            </a:r>
          </a:p>
          <a:p>
            <a:pPr lvl="3"/>
            <a:r>
              <a:rPr lang="en-US" sz="1050" dirty="0"/>
              <a:t>Fourth level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6375178"/>
            <a:ext cx="2125980" cy="524215"/>
          </a:xfrm>
          <a:prstGeom prst="rect">
            <a:avLst/>
          </a:prstGeom>
        </p:spPr>
      </p:pic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76575" y="6446837"/>
            <a:ext cx="3162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cap="all" baseline="0">
                <a:solidFill>
                  <a:schemeClr val="bg1">
                    <a:lumMod val="8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AFC 2.0:  AUTOMATED FARE COLLECTION</a:t>
            </a:r>
          </a:p>
        </p:txBody>
      </p:sp>
    </p:spTree>
    <p:extLst>
      <p:ext uri="{BB962C8B-B14F-4D97-AF65-F5344CB8AC3E}">
        <p14:creationId xmlns:p14="http://schemas.microsoft.com/office/powerpoint/2010/main" val="27079203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205740" y="0"/>
            <a:ext cx="8743950" cy="81381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1" y="6400800"/>
            <a:ext cx="9144000" cy="457200"/>
          </a:xfrm>
          <a:prstGeom prst="rect">
            <a:avLst/>
          </a:prstGeom>
          <a:solidFill>
            <a:srgbClr val="494F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 userDrawn="1"/>
        </p:nvSpPr>
        <p:spPr>
          <a:xfrm>
            <a:off x="15" y="6334316"/>
            <a:ext cx="9143989" cy="66484"/>
          </a:xfrm>
          <a:prstGeom prst="rect">
            <a:avLst/>
          </a:prstGeom>
          <a:solidFill>
            <a:srgbClr val="7880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04316" y="6459792"/>
            <a:ext cx="9840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88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186775C4-FF83-4AA7-9695-AAC1C0A4B08C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00026" y="1404366"/>
            <a:ext cx="874395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2"/>
          <p:cNvSpPr>
            <a:spLocks noGrp="1"/>
          </p:cNvSpPr>
          <p:nvPr>
            <p:ph sz="half" idx="1"/>
          </p:nvPr>
        </p:nvSpPr>
        <p:spPr>
          <a:xfrm>
            <a:off x="205740" y="1543050"/>
            <a:ext cx="8743950" cy="46717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rgbClr val="395185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284163" indent="-192088">
              <a:buClr>
                <a:srgbClr val="CEE0F4"/>
              </a:buClr>
              <a:buFont typeface="Wingdings" panose="05000000000000000000" pitchFamily="2" charset="2"/>
              <a:buChar char="§"/>
              <a:defRPr sz="14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457200" indent="-173038">
              <a:buClr>
                <a:srgbClr val="B0B5C0"/>
              </a:buClr>
              <a:buFont typeface="Calibri" panose="020F0502020204030204" pitchFamily="34" charset="0"/>
              <a:buChar char="‒"/>
              <a:defRPr sz="1100" baseline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685800" indent="-227013">
              <a:buClr>
                <a:srgbClr val="B0B5C0"/>
              </a:buClr>
              <a:buFont typeface="Courier New" panose="02070309020205020404" pitchFamily="49" charset="0"/>
              <a:buChar char="o"/>
              <a:tabLst/>
              <a:defRPr sz="11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2"/>
            <a:r>
              <a:rPr lang="en-US" dirty="0"/>
              <a:t>Third level </a:t>
            </a:r>
          </a:p>
          <a:p>
            <a:pPr lvl="3"/>
            <a:r>
              <a:rPr lang="en-US" sz="1050" dirty="0"/>
              <a:t>Fourth level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6375178"/>
            <a:ext cx="2125980" cy="524215"/>
          </a:xfrm>
          <a:prstGeom prst="rect">
            <a:avLst/>
          </a:prstGeom>
        </p:spPr>
      </p:pic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76575" y="6446837"/>
            <a:ext cx="3162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cap="all" baseline="0">
                <a:solidFill>
                  <a:schemeClr val="bg1">
                    <a:lumMod val="8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AFC 2.0:  AUTOMATED FARE COLLECTION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09550" y="828675"/>
            <a:ext cx="3438525" cy="428625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2392388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205740" y="0"/>
            <a:ext cx="8743950" cy="37147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1" y="6400800"/>
            <a:ext cx="9144000" cy="457200"/>
          </a:xfrm>
          <a:prstGeom prst="rect">
            <a:avLst/>
          </a:prstGeom>
          <a:solidFill>
            <a:srgbClr val="494F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 userDrawn="1"/>
        </p:nvSpPr>
        <p:spPr>
          <a:xfrm>
            <a:off x="15" y="6334316"/>
            <a:ext cx="9143989" cy="66484"/>
          </a:xfrm>
          <a:prstGeom prst="rect">
            <a:avLst/>
          </a:prstGeom>
          <a:solidFill>
            <a:srgbClr val="7880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04316" y="6459792"/>
            <a:ext cx="9840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88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186775C4-FF83-4AA7-9695-AAC1C0A4B08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6375178"/>
            <a:ext cx="2125980" cy="524215"/>
          </a:xfrm>
          <a:prstGeom prst="rect">
            <a:avLst/>
          </a:prstGeom>
        </p:spPr>
      </p:pic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76575" y="6446837"/>
            <a:ext cx="3162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cap="all" baseline="0">
                <a:solidFill>
                  <a:schemeClr val="bg1">
                    <a:lumMod val="8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AFC 2.0:  AUTOMATED FARE COLLECTION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09550" y="404134"/>
            <a:ext cx="3438525" cy="428625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"/>
          </p:nvPr>
        </p:nvSpPr>
        <p:spPr>
          <a:xfrm>
            <a:off x="205740" y="1118938"/>
            <a:ext cx="8743950" cy="50111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rgbClr val="395185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284163" indent="-192088">
              <a:buClr>
                <a:schemeClr val="accent3"/>
              </a:buClr>
              <a:buFont typeface="Wingdings" panose="05000000000000000000" pitchFamily="2" charset="2"/>
              <a:buChar char="§"/>
              <a:defRPr sz="14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457200" indent="-173038">
              <a:buClr>
                <a:srgbClr val="B0B5C0"/>
              </a:buClr>
              <a:buFont typeface="Calibri" panose="020F0502020204030204" pitchFamily="34" charset="0"/>
              <a:buChar char="‒"/>
              <a:defRPr sz="1100" baseline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685800" indent="-227013">
              <a:buClr>
                <a:srgbClr val="B0B5C0"/>
              </a:buClr>
              <a:buFont typeface="Courier New" panose="02070309020205020404" pitchFamily="49" charset="0"/>
              <a:buChar char="o"/>
              <a:tabLst/>
              <a:defRPr sz="11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2"/>
            <a:r>
              <a:rPr lang="en-US" dirty="0"/>
              <a:t>Third level </a:t>
            </a:r>
          </a:p>
          <a:p>
            <a:pPr lvl="3"/>
            <a:r>
              <a:rPr lang="en-US" sz="1050" dirty="0"/>
              <a:t>Fourth level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00026" y="1001305"/>
            <a:ext cx="874395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12510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8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1" y="6400800"/>
            <a:ext cx="9144000" cy="457200"/>
          </a:xfrm>
          <a:prstGeom prst="rect">
            <a:avLst/>
          </a:prstGeom>
          <a:solidFill>
            <a:srgbClr val="494F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5" y="6334316"/>
            <a:ext cx="9143989" cy="66484"/>
          </a:xfrm>
          <a:prstGeom prst="rect">
            <a:avLst/>
          </a:prstGeom>
          <a:solidFill>
            <a:srgbClr val="7880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205740" y="0"/>
            <a:ext cx="8743950" cy="81381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04316" y="6459792"/>
            <a:ext cx="9840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88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6775C4-FF83-4AA7-9695-AAC1C0A4B08C}" type="slidenum">
              <a:rPr kumimoji="0" lang="en-US" sz="788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88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05740" y="813816"/>
            <a:ext cx="874395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/>
          <p:cNvSpPr>
            <a:spLocks noGrp="1"/>
          </p:cNvSpPr>
          <p:nvPr>
            <p:ph type="body" idx="10"/>
          </p:nvPr>
        </p:nvSpPr>
        <p:spPr>
          <a:xfrm>
            <a:off x="205740" y="872801"/>
            <a:ext cx="8743950" cy="644272"/>
          </a:xfrm>
          <a:prstGeom prst="rect">
            <a:avLst/>
          </a:prstGeo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1350" cap="all" spc="150" baseline="0">
                <a:solidFill>
                  <a:schemeClr val="tx2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342884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49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1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29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18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064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"/>
          </p:nvPr>
        </p:nvSpPr>
        <p:spPr>
          <a:xfrm>
            <a:off x="205740" y="1622090"/>
            <a:ext cx="8743950" cy="458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rgbClr val="395185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284163" indent="-192088">
              <a:buClr>
                <a:srgbClr val="CEE0F4"/>
              </a:buClr>
              <a:buFont typeface="Wingdings" panose="05000000000000000000" pitchFamily="2" charset="2"/>
              <a:buChar char="§"/>
              <a:defRPr sz="14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457200" indent="-173038">
              <a:buClr>
                <a:srgbClr val="B0B5C0"/>
              </a:buClr>
              <a:buFont typeface="Calibri" panose="020F0502020204030204" pitchFamily="34" charset="0"/>
              <a:buChar char="‒"/>
              <a:defRPr sz="1100" baseline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685800" indent="-227013">
              <a:buClr>
                <a:srgbClr val="B0B5C0"/>
              </a:buClr>
              <a:buFont typeface="Courier New" panose="02070309020205020404" pitchFamily="49" charset="0"/>
              <a:buChar char="o"/>
              <a:tabLst/>
              <a:defRPr sz="11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Third level </a:t>
            </a:r>
          </a:p>
          <a:p>
            <a:pPr lvl="3"/>
            <a:r>
              <a:rPr lang="en-US" sz="1050" dirty="0" smtClean="0"/>
              <a:t>Fourth level</a:t>
            </a:r>
            <a:endParaRPr lang="en-US" dirty="0" smtClean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6375178"/>
            <a:ext cx="2125980" cy="524215"/>
          </a:xfrm>
          <a:prstGeom prst="rect">
            <a:avLst/>
          </a:prstGeom>
        </p:spPr>
      </p:pic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76575" y="6446837"/>
            <a:ext cx="3162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cap="all" baseline="0">
                <a:solidFill>
                  <a:schemeClr val="bg1">
                    <a:lumMod val="8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all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69739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04316" y="6459792"/>
            <a:ext cx="9840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88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186775C4-FF83-4AA7-9695-AAC1C0A4B0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76575" y="6446837"/>
            <a:ext cx="3162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cap="all" baseline="0">
                <a:solidFill>
                  <a:schemeClr val="bg1">
                    <a:lumMod val="8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AFC 2.0:  AUTOMATED FARE COLLECTION</a:t>
            </a:r>
          </a:p>
        </p:txBody>
      </p:sp>
    </p:spTree>
    <p:extLst>
      <p:ext uri="{BB962C8B-B14F-4D97-AF65-F5344CB8AC3E}">
        <p14:creationId xmlns:p14="http://schemas.microsoft.com/office/powerpoint/2010/main" val="28350924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08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1" y="6400800"/>
            <a:ext cx="9144000" cy="457200"/>
          </a:xfrm>
          <a:prstGeom prst="rect">
            <a:avLst/>
          </a:prstGeom>
          <a:solidFill>
            <a:srgbClr val="494F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15" y="6334316"/>
            <a:ext cx="9143989" cy="66484"/>
          </a:xfrm>
          <a:prstGeom prst="rect">
            <a:avLst/>
          </a:prstGeom>
          <a:solidFill>
            <a:srgbClr val="7880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205740" y="0"/>
            <a:ext cx="8743950" cy="81381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04316" y="6459792"/>
            <a:ext cx="9840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88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186775C4-FF83-4AA7-9695-AAC1C0A4B08C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05740" y="813816"/>
            <a:ext cx="874395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/>
          <p:cNvSpPr>
            <a:spLocks noGrp="1"/>
          </p:cNvSpPr>
          <p:nvPr>
            <p:ph type="body" idx="10"/>
          </p:nvPr>
        </p:nvSpPr>
        <p:spPr>
          <a:xfrm>
            <a:off x="205740" y="872801"/>
            <a:ext cx="8743950" cy="644272"/>
          </a:xfrm>
          <a:prstGeom prst="rect">
            <a:avLst/>
          </a:prstGeo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1350" cap="all" spc="150" baseline="0">
                <a:solidFill>
                  <a:schemeClr val="tx2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342884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49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1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29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18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064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"/>
          </p:nvPr>
        </p:nvSpPr>
        <p:spPr>
          <a:xfrm>
            <a:off x="205740" y="1627632"/>
            <a:ext cx="8743950" cy="458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rgbClr val="395185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284163" indent="-192088">
              <a:buClr>
                <a:srgbClr val="CEE0F4"/>
              </a:buClr>
              <a:buFont typeface="Wingdings" panose="05000000000000000000" pitchFamily="2" charset="2"/>
              <a:buChar char="§"/>
              <a:defRPr sz="14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457200" indent="-173038">
              <a:buClr>
                <a:srgbClr val="B0B5C0"/>
              </a:buClr>
              <a:buFont typeface="Calibri" panose="020F0502020204030204" pitchFamily="34" charset="0"/>
              <a:buChar char="‒"/>
              <a:defRPr sz="1100" baseline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685800" indent="-227013">
              <a:buClr>
                <a:srgbClr val="B0B5C0"/>
              </a:buClr>
              <a:buFont typeface="Courier New" panose="02070309020205020404" pitchFamily="49" charset="0"/>
              <a:buChar char="o"/>
              <a:tabLst/>
              <a:defRPr sz="11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2"/>
            <a:r>
              <a:rPr lang="en-US" dirty="0"/>
              <a:t>Third level </a:t>
            </a:r>
          </a:p>
          <a:p>
            <a:pPr lvl="3"/>
            <a:r>
              <a:rPr lang="en-US" sz="1050" dirty="0"/>
              <a:t>Fourth level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6375178"/>
            <a:ext cx="2125980" cy="524215"/>
          </a:xfrm>
          <a:prstGeom prst="rect">
            <a:avLst/>
          </a:prstGeom>
        </p:spPr>
      </p:pic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76575" y="6446837"/>
            <a:ext cx="3162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cap="all" baseline="0">
                <a:solidFill>
                  <a:schemeClr val="bg1">
                    <a:lumMod val="8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AFC 2.0:  AUTOMATED FARE COLLECTION</a:t>
            </a:r>
          </a:p>
        </p:txBody>
      </p:sp>
    </p:spTree>
    <p:extLst>
      <p:ext uri="{BB962C8B-B14F-4D97-AF65-F5344CB8AC3E}">
        <p14:creationId xmlns:p14="http://schemas.microsoft.com/office/powerpoint/2010/main" val="21861515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205740" y="0"/>
            <a:ext cx="8743950" cy="81381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1" y="6400800"/>
            <a:ext cx="9144000" cy="457200"/>
          </a:xfrm>
          <a:prstGeom prst="rect">
            <a:avLst/>
          </a:prstGeom>
          <a:solidFill>
            <a:srgbClr val="494F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 userDrawn="1"/>
        </p:nvSpPr>
        <p:spPr>
          <a:xfrm>
            <a:off x="15" y="6334316"/>
            <a:ext cx="9143989" cy="66484"/>
          </a:xfrm>
          <a:prstGeom prst="rect">
            <a:avLst/>
          </a:prstGeom>
          <a:solidFill>
            <a:srgbClr val="7880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04316" y="6459792"/>
            <a:ext cx="9840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88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186775C4-FF83-4AA7-9695-AAC1C0A4B08C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00026" y="1404366"/>
            <a:ext cx="874395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2"/>
          <p:cNvSpPr>
            <a:spLocks noGrp="1"/>
          </p:cNvSpPr>
          <p:nvPr>
            <p:ph sz="half" idx="1"/>
          </p:nvPr>
        </p:nvSpPr>
        <p:spPr>
          <a:xfrm>
            <a:off x="205740" y="1543050"/>
            <a:ext cx="8743950" cy="46717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rgbClr val="395185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284163" indent="-192088">
              <a:buClr>
                <a:srgbClr val="CEE0F4"/>
              </a:buClr>
              <a:buFont typeface="Wingdings" panose="05000000000000000000" pitchFamily="2" charset="2"/>
              <a:buChar char="§"/>
              <a:defRPr sz="14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457200" indent="-173038">
              <a:buClr>
                <a:srgbClr val="B0B5C0"/>
              </a:buClr>
              <a:buFont typeface="Calibri" panose="020F0502020204030204" pitchFamily="34" charset="0"/>
              <a:buChar char="‒"/>
              <a:defRPr sz="1100" baseline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685800" indent="-227013">
              <a:buClr>
                <a:srgbClr val="B0B5C0"/>
              </a:buClr>
              <a:buFont typeface="Courier New" panose="02070309020205020404" pitchFamily="49" charset="0"/>
              <a:buChar char="o"/>
              <a:tabLst/>
              <a:defRPr sz="11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2"/>
            <a:r>
              <a:rPr lang="en-US" dirty="0"/>
              <a:t>Third level </a:t>
            </a:r>
          </a:p>
          <a:p>
            <a:pPr lvl="3"/>
            <a:r>
              <a:rPr lang="en-US" sz="1050" dirty="0"/>
              <a:t>Fourth level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6375178"/>
            <a:ext cx="2125980" cy="524215"/>
          </a:xfrm>
          <a:prstGeom prst="rect">
            <a:avLst/>
          </a:prstGeom>
        </p:spPr>
      </p:pic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76575" y="6446837"/>
            <a:ext cx="3162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cap="all" baseline="0">
                <a:solidFill>
                  <a:schemeClr val="bg1">
                    <a:lumMod val="8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AFC 2.0:  AUTOMATED FARE COLLECTION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09550" y="828675"/>
            <a:ext cx="3438525" cy="428625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12027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205740" y="0"/>
            <a:ext cx="8743950" cy="37147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1" y="6400800"/>
            <a:ext cx="9144000" cy="457200"/>
          </a:xfrm>
          <a:prstGeom prst="rect">
            <a:avLst/>
          </a:prstGeom>
          <a:solidFill>
            <a:srgbClr val="494F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 userDrawn="1"/>
        </p:nvSpPr>
        <p:spPr>
          <a:xfrm>
            <a:off x="15" y="6334316"/>
            <a:ext cx="9143989" cy="66484"/>
          </a:xfrm>
          <a:prstGeom prst="rect">
            <a:avLst/>
          </a:prstGeom>
          <a:solidFill>
            <a:srgbClr val="7880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04316" y="6459792"/>
            <a:ext cx="9840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88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186775C4-FF83-4AA7-9695-AAC1C0A4B08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6375178"/>
            <a:ext cx="2125980" cy="524215"/>
          </a:xfrm>
          <a:prstGeom prst="rect">
            <a:avLst/>
          </a:prstGeom>
        </p:spPr>
      </p:pic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76575" y="6446837"/>
            <a:ext cx="3162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cap="all" baseline="0">
                <a:solidFill>
                  <a:schemeClr val="bg1">
                    <a:lumMod val="8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AFC 2.0:  AUTOMATED FARE COLLECTION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09550" y="404134"/>
            <a:ext cx="3438525" cy="428625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"/>
          </p:nvPr>
        </p:nvSpPr>
        <p:spPr>
          <a:xfrm>
            <a:off x="205740" y="1118938"/>
            <a:ext cx="8743950" cy="50111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rgbClr val="395185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284163" indent="-192088">
              <a:buClr>
                <a:schemeClr val="accent3"/>
              </a:buClr>
              <a:buFont typeface="Wingdings" panose="05000000000000000000" pitchFamily="2" charset="2"/>
              <a:buChar char="§"/>
              <a:defRPr sz="14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457200" indent="-173038">
              <a:buClr>
                <a:srgbClr val="B0B5C0"/>
              </a:buClr>
              <a:buFont typeface="Calibri" panose="020F0502020204030204" pitchFamily="34" charset="0"/>
              <a:buChar char="‒"/>
              <a:defRPr sz="1100" baseline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685800" indent="-227013">
              <a:buClr>
                <a:srgbClr val="B0B5C0"/>
              </a:buClr>
              <a:buFont typeface="Courier New" panose="02070309020205020404" pitchFamily="49" charset="0"/>
              <a:buChar char="o"/>
              <a:tabLst/>
              <a:defRPr sz="11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2"/>
            <a:r>
              <a:rPr lang="en-US" dirty="0"/>
              <a:t>Third level </a:t>
            </a:r>
          </a:p>
          <a:p>
            <a:pPr lvl="3"/>
            <a:r>
              <a:rPr lang="en-US" sz="1050" dirty="0"/>
              <a:t>Fourth level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00026" y="1001305"/>
            <a:ext cx="874395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7206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slideLayout" Target="../slideLayouts/slideLayout8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vmlDrawing" Target="../drawings/vmlDrawing4.vml"/><Relationship Id="rId5" Type="http://schemas.openxmlformats.org/officeDocument/2006/relationships/theme" Target="../theme/theme2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0131407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96" name="think-cell Slide" r:id="rId9" imgW="592" imgH="595" progId="TCLayout.ActiveDocument.1">
                  <p:embed/>
                </p:oleObj>
              </mc:Choice>
              <mc:Fallback>
                <p:oleObj name="think-cell Slide" r:id="rId9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0"/>
            <a:ext cx="7886700" cy="8143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2"/>
            <a:r>
              <a:rPr lang="en-US" dirty="0"/>
              <a:t>Third level </a:t>
            </a:r>
          </a:p>
          <a:p>
            <a:pPr lvl="3"/>
            <a:r>
              <a:rPr lang="en-US" sz="1050" dirty="0"/>
              <a:t>Fourth level</a:t>
            </a:r>
          </a:p>
          <a:p>
            <a:pPr lvl="3"/>
            <a:endParaRPr lang="en-US" sz="1050" dirty="0"/>
          </a:p>
          <a:p>
            <a:pPr lvl="1"/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1" y="6403753"/>
            <a:ext cx="9144000" cy="457200"/>
          </a:xfrm>
          <a:prstGeom prst="rect">
            <a:avLst/>
          </a:prstGeom>
          <a:solidFill>
            <a:srgbClr val="494F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5" name="Rectangle 14"/>
          <p:cNvSpPr/>
          <p:nvPr userDrawn="1"/>
        </p:nvSpPr>
        <p:spPr>
          <a:xfrm>
            <a:off x="15" y="6334316"/>
            <a:ext cx="9143989" cy="66484"/>
          </a:xfrm>
          <a:prstGeom prst="rect">
            <a:avLst/>
          </a:prstGeom>
          <a:solidFill>
            <a:srgbClr val="7880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76575" y="6446837"/>
            <a:ext cx="3162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cap="all" baseline="0">
                <a:solidFill>
                  <a:schemeClr val="bg1">
                    <a:lumMod val="8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AFC 2.0:  AUTOMATED FARE COLLECTION</a:t>
            </a: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04316" y="6459792"/>
            <a:ext cx="9840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88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186775C4-FF83-4AA7-9695-AAC1C0A4B08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6375178"/>
            <a:ext cx="2125980" cy="524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81640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70" r:id="rId4"/>
    <p:sldLayoutId id="2147483689" r:id="rId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Clr>
          <a:srgbClr val="CEE0F4"/>
        </a:buClr>
        <a:buFont typeface="Wingdings" panose="05000000000000000000" pitchFamily="2" charset="2"/>
        <a:buNone/>
        <a:defRPr sz="1600" kern="1200">
          <a:solidFill>
            <a:srgbClr val="395185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EE0F4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2pPr>
      <a:lvl3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B0B5C0"/>
        </a:buClr>
        <a:buFont typeface="Lato" panose="020F0502020204030203" pitchFamily="34" charset="0"/>
        <a:buChar char="–"/>
        <a:defRPr sz="120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3pPr>
      <a:lvl4pPr marL="969963" indent="-284163" algn="l" defTabSz="914400" rtl="0" eaLnBrk="1" latinLnBrk="0" hangingPunct="1">
        <a:lnSpc>
          <a:spcPct val="90000"/>
        </a:lnSpc>
        <a:spcBef>
          <a:spcPts val="500"/>
        </a:spcBef>
        <a:buClr>
          <a:srgbClr val="B0B5C0"/>
        </a:buClr>
        <a:buFont typeface="Courier New" panose="02070309020205020404" pitchFamily="49" charset="0"/>
        <a:buChar char="o"/>
        <a:tabLst/>
        <a:defRPr sz="120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84" name="think-cell Slide" r:id="rId8" imgW="592" imgH="595" progId="TCLayout.ActiveDocument.1">
                  <p:embed/>
                </p:oleObj>
              </mc:Choice>
              <mc:Fallback>
                <p:oleObj name="think-cell Slide" r:id="rId8" imgW="592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0"/>
            <a:ext cx="7886700" cy="8143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2"/>
            <a:r>
              <a:rPr lang="en-US" dirty="0"/>
              <a:t>Third level </a:t>
            </a:r>
          </a:p>
          <a:p>
            <a:pPr lvl="3"/>
            <a:r>
              <a:rPr lang="en-US" sz="1050" dirty="0"/>
              <a:t>Fourth level</a:t>
            </a:r>
          </a:p>
          <a:p>
            <a:pPr lvl="3"/>
            <a:endParaRPr lang="en-US" sz="1050" dirty="0"/>
          </a:p>
          <a:p>
            <a:pPr lvl="1"/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1" y="6403753"/>
            <a:ext cx="9144000" cy="457200"/>
          </a:xfrm>
          <a:prstGeom prst="rect">
            <a:avLst/>
          </a:prstGeom>
          <a:solidFill>
            <a:srgbClr val="494F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5" name="Rectangle 14"/>
          <p:cNvSpPr/>
          <p:nvPr userDrawn="1"/>
        </p:nvSpPr>
        <p:spPr>
          <a:xfrm>
            <a:off x="15" y="6334316"/>
            <a:ext cx="9143989" cy="66484"/>
          </a:xfrm>
          <a:prstGeom prst="rect">
            <a:avLst/>
          </a:prstGeom>
          <a:solidFill>
            <a:srgbClr val="7880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76575" y="6446837"/>
            <a:ext cx="3162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cap="all" baseline="0">
                <a:solidFill>
                  <a:schemeClr val="bg1">
                    <a:lumMod val="8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AFC 2.0:  AUTOMATED FARE COLLECTION</a:t>
            </a: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04316" y="6459792"/>
            <a:ext cx="9840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88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186775C4-FF83-4AA7-9695-AAC1C0A4B08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6375178"/>
            <a:ext cx="2125980" cy="524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338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Clr>
          <a:srgbClr val="CEE0F4"/>
        </a:buClr>
        <a:buFont typeface="Wingdings" panose="05000000000000000000" pitchFamily="2" charset="2"/>
        <a:buNone/>
        <a:defRPr sz="1600" kern="1200">
          <a:solidFill>
            <a:srgbClr val="395185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EE0F4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2pPr>
      <a:lvl3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B0B5C0"/>
        </a:buClr>
        <a:buFont typeface="Lato" panose="020F0502020204030203" pitchFamily="34" charset="0"/>
        <a:buChar char="–"/>
        <a:defRPr sz="120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3pPr>
      <a:lvl4pPr marL="969963" indent="-284163" algn="l" defTabSz="914400" rtl="0" eaLnBrk="1" latinLnBrk="0" hangingPunct="1">
        <a:lnSpc>
          <a:spcPct val="90000"/>
        </a:lnSpc>
        <a:spcBef>
          <a:spcPts val="500"/>
        </a:spcBef>
        <a:buClr>
          <a:srgbClr val="B0B5C0"/>
        </a:buClr>
        <a:buFont typeface="Courier New" panose="02070309020205020404" pitchFamily="49" charset="0"/>
        <a:buChar char="o"/>
        <a:tabLst/>
        <a:defRPr sz="120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ctrTitle"/>
          </p:nvPr>
        </p:nvSpPr>
        <p:spPr>
          <a:xfrm>
            <a:off x="352425" y="1122363"/>
            <a:ext cx="8443705" cy="2150924"/>
          </a:xfrm>
        </p:spPr>
        <p:txBody>
          <a:bodyPr>
            <a:normAutofit/>
          </a:bodyPr>
          <a:lstStyle/>
          <a:p>
            <a:r>
              <a:rPr lang="en-US" dirty="0"/>
              <a:t>AFC 2.0</a:t>
            </a:r>
            <a:br>
              <a:rPr lang="en-US" dirty="0"/>
            </a:br>
            <a:r>
              <a:rPr lang="en-US" sz="4400" dirty="0"/>
              <a:t>Quarterly update to the </a:t>
            </a:r>
            <a:br>
              <a:rPr lang="en-US" sz="4400" dirty="0"/>
            </a:br>
            <a:r>
              <a:rPr lang="en-US" sz="4400" dirty="0"/>
              <a:t>Fiscal &amp; Management Control Board</a:t>
            </a:r>
          </a:p>
        </p:txBody>
      </p:sp>
      <p:sp>
        <p:nvSpPr>
          <p:cNvPr id="11" name="Subtitle 10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2378138"/>
          </a:xfrm>
        </p:spPr>
        <p:txBody>
          <a:bodyPr>
            <a:normAutofit/>
          </a:bodyPr>
          <a:lstStyle/>
          <a:p>
            <a:r>
              <a:rPr lang="en-US" sz="1800" dirty="0" smtClean="0"/>
              <a:t>David </a:t>
            </a:r>
            <a:r>
              <a:rPr lang="en-US" sz="1800" dirty="0"/>
              <a:t>Sikorski, </a:t>
            </a:r>
            <a:r>
              <a:rPr lang="en-US" sz="1800" i="1" dirty="0"/>
              <a:t>AFC 2.0 Program Manager</a:t>
            </a:r>
          </a:p>
          <a:p>
            <a:endParaRPr lang="en-US" sz="2000" i="1" dirty="0"/>
          </a:p>
          <a:p>
            <a:endParaRPr lang="en-US" sz="2000" i="1" dirty="0"/>
          </a:p>
          <a:p>
            <a:r>
              <a:rPr lang="en-US" sz="1800" dirty="0" smtClean="0">
                <a:solidFill>
                  <a:schemeClr val="accent3"/>
                </a:solidFill>
              </a:rPr>
              <a:t>13 Aug </a:t>
            </a:r>
            <a:r>
              <a:rPr lang="en-US" sz="1800" dirty="0">
                <a:solidFill>
                  <a:schemeClr val="accent3"/>
                </a:solidFill>
              </a:rPr>
              <a:t>2018</a:t>
            </a:r>
          </a:p>
        </p:txBody>
      </p:sp>
    </p:spTree>
    <p:extLst>
      <p:ext uri="{BB962C8B-B14F-4D97-AF65-F5344CB8AC3E}">
        <p14:creationId xmlns:p14="http://schemas.microsoft.com/office/powerpoint/2010/main" val="19227262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FC2.0 Outreach Update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6775C4-FF83-4AA7-9695-AAC1C0A4B08C}" type="slidenum">
              <a:rPr kumimoji="0" lang="en-US" sz="788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788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0"/>
          </p:nvPr>
        </p:nvSpPr>
        <p:spPr/>
        <p:txBody>
          <a:bodyPr/>
          <a:lstStyle/>
          <a:p>
            <a:r>
              <a:rPr lang="en-US" dirty="0" smtClean="0"/>
              <a:t>outreach will be: 1) accountable, 2) accessible &amp; proactive, 3) transparent, </a:t>
            </a:r>
          </a:p>
          <a:p>
            <a:r>
              <a:rPr lang="en-US" dirty="0" smtClean="0"/>
              <a:t>and 4) iterativ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b="1" dirty="0" smtClean="0"/>
              <a:t>Outreach in the last Quarter:</a:t>
            </a:r>
            <a:r>
              <a:rPr lang="en-US" b="1" dirty="0" smtClean="0">
                <a:solidFill>
                  <a:srgbClr val="E6BA00"/>
                </a:solidFill>
              </a:rPr>
              <a:t> Make sure we get outreach right</a:t>
            </a:r>
            <a:endParaRPr lang="en-US" b="1" dirty="0">
              <a:solidFill>
                <a:srgbClr val="E6BA00"/>
              </a:solidFill>
            </a:endParaRP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Kickoff with City Council Forum on June 22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Meetings to introduce topics and get input on best methods to reach specific communities</a:t>
            </a:r>
          </a:p>
          <a:p>
            <a:endParaRPr lang="en-US" dirty="0"/>
          </a:p>
          <a:p>
            <a:r>
              <a:rPr lang="en-US" b="1" dirty="0" smtClean="0"/>
              <a:t>Plan for Next Quarter (August-October): </a:t>
            </a:r>
            <a:r>
              <a:rPr lang="en-US" b="1" dirty="0" smtClean="0">
                <a:solidFill>
                  <a:srgbClr val="E6BA00"/>
                </a:solidFill>
              </a:rPr>
              <a:t>Focus on Fare Media Access and Inspections</a:t>
            </a:r>
            <a:endParaRPr lang="en-US" b="1" dirty="0">
              <a:solidFill>
                <a:srgbClr val="E6BA00"/>
              </a:solidFill>
            </a:endParaRPr>
          </a:p>
          <a:p>
            <a:pPr lvl="1"/>
            <a:r>
              <a:rPr lang="en-US" dirty="0" smtClean="0"/>
              <a:t>Community conversations about AFC2.0, Access to Fare Media, and Fare Inspections</a:t>
            </a:r>
          </a:p>
          <a:p>
            <a:pPr lvl="1"/>
            <a:r>
              <a:rPr lang="en-US" dirty="0" smtClean="0"/>
              <a:t>Broader community input on point of sale locations in coordination with other T efforts (e.g., Better Bus)</a:t>
            </a:r>
          </a:p>
          <a:p>
            <a:endParaRPr lang="en-US" sz="1500" dirty="0" smtClean="0"/>
          </a:p>
          <a:p>
            <a:r>
              <a:rPr lang="en-US" b="1" dirty="0" smtClean="0"/>
              <a:t>Ongoing outreach meetings: </a:t>
            </a:r>
            <a:r>
              <a:rPr lang="en-US" b="1" dirty="0" smtClean="0">
                <a:solidFill>
                  <a:srgbClr val="E6BA00"/>
                </a:solidFill>
              </a:rPr>
              <a:t>Regular updates and input sessions</a:t>
            </a:r>
            <a:endParaRPr lang="en-US" b="1" dirty="0">
              <a:solidFill>
                <a:srgbClr val="E6BA00"/>
              </a:solidFill>
            </a:endParaRPr>
          </a:p>
          <a:p>
            <a:r>
              <a:rPr lang="en-US" b="1" dirty="0" smtClean="0">
                <a:solidFill>
                  <a:schemeClr val="tx1"/>
                </a:solidFill>
              </a:rPr>
              <a:t>Policy Development Working Group </a:t>
            </a:r>
            <a:r>
              <a:rPr lang="en-US" dirty="0" smtClean="0">
                <a:solidFill>
                  <a:schemeClr val="tx1"/>
                </a:solidFill>
              </a:rPr>
              <a:t>(quarterly, beginning in August 2018, at 10 Park Plaza during the business day)</a:t>
            </a:r>
          </a:p>
          <a:p>
            <a:r>
              <a:rPr lang="en-US" sz="1400" dirty="0" smtClean="0">
                <a:solidFill>
                  <a:schemeClr val="tx1"/>
                </a:solidFill>
              </a:rPr>
              <a:t>Open to all stakeholders, focus will be on</a:t>
            </a:r>
            <a:endParaRPr lang="en-US" sz="1400" dirty="0" smtClean="0"/>
          </a:p>
          <a:p>
            <a:pPr marL="512762" lvl="2" indent="-228600">
              <a:buClr>
                <a:schemeClr val="tx1">
                  <a:lumMod val="65000"/>
                  <a:lumOff val="35000"/>
                </a:schemeClr>
              </a:buClr>
              <a:buFont typeface="+mj-lt"/>
              <a:buAutoNum type="arabicParenR"/>
            </a:pPr>
            <a:r>
              <a:rPr lang="en-US" dirty="0"/>
              <a:t>I</a:t>
            </a:r>
            <a:r>
              <a:rPr lang="en-US" dirty="0" smtClean="0"/>
              <a:t>dentify </a:t>
            </a:r>
            <a:r>
              <a:rPr lang="en-US" dirty="0"/>
              <a:t>specific user communities or organizations for future </a:t>
            </a:r>
            <a:r>
              <a:rPr lang="en-US" dirty="0" smtClean="0"/>
              <a:t>engagement</a:t>
            </a:r>
          </a:p>
          <a:p>
            <a:pPr marL="512762" lvl="2" indent="-228600">
              <a:buClr>
                <a:schemeClr val="tx1">
                  <a:lumMod val="65000"/>
                  <a:lumOff val="35000"/>
                </a:schemeClr>
              </a:buClr>
              <a:buFont typeface="+mj-lt"/>
              <a:buAutoNum type="arabicParenR"/>
            </a:pPr>
            <a:r>
              <a:rPr lang="en-US" dirty="0" smtClean="0"/>
              <a:t>Brainstorm </a:t>
            </a:r>
            <a:r>
              <a:rPr lang="en-US" dirty="0"/>
              <a:t>solutions to identified policy </a:t>
            </a:r>
            <a:r>
              <a:rPr lang="en-US" dirty="0" smtClean="0"/>
              <a:t>issues</a:t>
            </a:r>
          </a:p>
          <a:p>
            <a:pPr marL="512762" lvl="2" indent="-228600">
              <a:buClr>
                <a:schemeClr val="tx1">
                  <a:lumMod val="65000"/>
                  <a:lumOff val="35000"/>
                </a:schemeClr>
              </a:buClr>
              <a:buFont typeface="+mj-lt"/>
              <a:buAutoNum type="arabicParenR"/>
            </a:pPr>
            <a:r>
              <a:rPr lang="en-US" dirty="0" smtClean="0"/>
              <a:t>Feedback on MBTA </a:t>
            </a:r>
            <a:r>
              <a:rPr lang="en-US" dirty="0"/>
              <a:t>proposed </a:t>
            </a:r>
            <a:r>
              <a:rPr lang="en-US" dirty="0" smtClean="0"/>
              <a:t>policies</a:t>
            </a:r>
            <a:endParaRPr lang="en-US" dirty="0" smtClean="0">
              <a:solidFill>
                <a:schemeClr val="tx1"/>
              </a:solidFill>
            </a:endParaRPr>
          </a:p>
          <a:p>
            <a:r>
              <a:rPr lang="en-US" b="1" dirty="0" smtClean="0">
                <a:solidFill>
                  <a:schemeClr val="tx1"/>
                </a:solidFill>
              </a:rPr>
              <a:t>Public </a:t>
            </a:r>
            <a:r>
              <a:rPr lang="en-US" b="1" dirty="0">
                <a:solidFill>
                  <a:schemeClr val="tx1"/>
                </a:solidFill>
              </a:rPr>
              <a:t>Advisory </a:t>
            </a:r>
            <a:r>
              <a:rPr lang="en-US" b="1" dirty="0" smtClean="0">
                <a:solidFill>
                  <a:schemeClr val="tx1"/>
                </a:solidFill>
              </a:rPr>
              <a:t>Meetings </a:t>
            </a:r>
            <a:r>
              <a:rPr lang="en-US" dirty="0" smtClean="0">
                <a:solidFill>
                  <a:schemeClr val="tx1"/>
                </a:solidFill>
              </a:rPr>
              <a:t>(quarterly, beginning September 2018, rotating locations, evenings)</a:t>
            </a:r>
          </a:p>
          <a:p>
            <a:r>
              <a:rPr lang="en-US" sz="1600" dirty="0" smtClean="0">
                <a:solidFill>
                  <a:schemeClr val="tx1"/>
                </a:solidFill>
              </a:rPr>
              <a:t>Will be an opportunity to share and discuss policy and technology updates regarding AFC 2.0</a:t>
            </a:r>
          </a:p>
        </p:txBody>
      </p:sp>
    </p:spTree>
    <p:extLst>
      <p:ext uri="{BB962C8B-B14F-4D97-AF65-F5344CB8AC3E}">
        <p14:creationId xmlns:p14="http://schemas.microsoft.com/office/powerpoint/2010/main" val="9235550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verview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86775C4-FF83-4AA7-9695-AAC1C0A4B08C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0"/>
          </p:nvPr>
        </p:nvSpPr>
        <p:spPr/>
        <p:txBody>
          <a:bodyPr/>
          <a:lstStyle/>
          <a:p>
            <a:r>
              <a:rPr lang="en-US" dirty="0"/>
              <a:t>AFC 2.0 Project updat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half" idx="1"/>
          </p:nvPr>
        </p:nvSpPr>
        <p:spPr>
          <a:xfrm>
            <a:off x="205740" y="1409884"/>
            <a:ext cx="8743950" cy="4619441"/>
          </a:xfrm>
        </p:spPr>
        <p:txBody>
          <a:bodyPr vert="horz" lIns="91440" tIns="45720" rIns="91440" bIns="45720" rtlCol="0" anchor="t">
            <a:normAutofit/>
          </a:bodyPr>
          <a:lstStyle/>
          <a:p>
            <a:pPr lvl="1">
              <a:buClr>
                <a:schemeClr val="accent4"/>
              </a:buClr>
            </a:pPr>
            <a:r>
              <a:rPr lang="en-US" sz="1800" b="1" dirty="0" smtClean="0"/>
              <a:t>Design Review Update</a:t>
            </a:r>
          </a:p>
          <a:p>
            <a:pPr lvl="1">
              <a:buClr>
                <a:schemeClr val="accent4"/>
              </a:buClr>
            </a:pPr>
            <a:endParaRPr lang="en-US" sz="1800" b="1" dirty="0" smtClean="0"/>
          </a:p>
          <a:p>
            <a:pPr lvl="1">
              <a:buClr>
                <a:schemeClr val="accent4"/>
              </a:buClr>
            </a:pPr>
            <a:r>
              <a:rPr lang="en-US" sz="1800" b="1" dirty="0" smtClean="0"/>
              <a:t>90-Day Outlook</a:t>
            </a:r>
            <a:r>
              <a:rPr lang="en-US" sz="1800" b="1" dirty="0"/>
              <a:t> </a:t>
            </a:r>
            <a:endParaRPr lang="en-US" sz="1800" b="1" dirty="0" smtClean="0"/>
          </a:p>
          <a:p>
            <a:pPr lvl="1">
              <a:buClr>
                <a:schemeClr val="accent4"/>
              </a:buClr>
            </a:pPr>
            <a:endParaRPr lang="en-US" sz="1800" b="1" dirty="0"/>
          </a:p>
          <a:p>
            <a:pPr lvl="1">
              <a:buClr>
                <a:schemeClr val="accent4"/>
              </a:buClr>
            </a:pPr>
            <a:r>
              <a:rPr lang="en-US" sz="1800" b="1" dirty="0"/>
              <a:t>Peer learnings - Vancouver</a:t>
            </a:r>
          </a:p>
          <a:p>
            <a:pPr lvl="1">
              <a:buClr>
                <a:schemeClr val="accent4"/>
              </a:buClr>
            </a:pPr>
            <a:endParaRPr lang="en-US" sz="1800" b="1" dirty="0" smtClean="0"/>
          </a:p>
          <a:p>
            <a:pPr lvl="1">
              <a:buClr>
                <a:schemeClr val="accent4"/>
              </a:buClr>
            </a:pPr>
            <a:r>
              <a:rPr lang="en-US" sz="1800" b="1" dirty="0" smtClean="0"/>
              <a:t>Pilot Update</a:t>
            </a:r>
            <a:endParaRPr lang="en-US" sz="1800" b="1" dirty="0"/>
          </a:p>
          <a:p>
            <a:pPr lvl="1">
              <a:buClr>
                <a:schemeClr val="accent4"/>
              </a:buClr>
            </a:pPr>
            <a:endParaRPr lang="en-US" sz="1800" b="1" dirty="0"/>
          </a:p>
          <a:p>
            <a:pPr lvl="1">
              <a:buClr>
                <a:schemeClr val="accent4"/>
              </a:buClr>
            </a:pPr>
            <a:r>
              <a:rPr lang="en-US" sz="1800" b="1" dirty="0" smtClean="0"/>
              <a:t>Design-Build Update</a:t>
            </a:r>
          </a:p>
          <a:p>
            <a:pPr lvl="1">
              <a:buClr>
                <a:schemeClr val="accent4"/>
              </a:buClr>
            </a:pPr>
            <a:endParaRPr lang="en-US" sz="1800" b="1" dirty="0"/>
          </a:p>
          <a:p>
            <a:pPr lvl="1">
              <a:buClr>
                <a:schemeClr val="accent4"/>
              </a:buClr>
            </a:pPr>
            <a:r>
              <a:rPr lang="en-US" sz="1800" b="1" dirty="0" smtClean="0"/>
              <a:t>Policy Update</a:t>
            </a:r>
          </a:p>
          <a:p>
            <a:pPr marL="456882" lvl="2" indent="-191770"/>
            <a:r>
              <a:rPr lang="en-US" sz="1500" b="1" dirty="0" smtClean="0"/>
              <a:t>Laurel Paget-Seekins</a:t>
            </a:r>
          </a:p>
          <a:p>
            <a:pPr marL="92075" lvl="1" indent="0">
              <a:buNone/>
            </a:pPr>
            <a:endParaRPr lang="en-US" sz="1800" b="1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AFC 2.0:  AUTOMATED FARE COLLECTION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52850" y="1238921"/>
            <a:ext cx="4017686" cy="252345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14889" y="3467100"/>
            <a:ext cx="2746081" cy="2383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1221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sign </a:t>
            </a:r>
            <a:r>
              <a:rPr lang="en-US" dirty="0" smtClean="0"/>
              <a:t>Review Updat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86775C4-FF83-4AA7-9695-AAC1C0A4B08C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AFC 2.0:  AUTOMATED FARE COLLECTION</a:t>
            </a:r>
            <a:endParaRPr lang="en-US" dirty="0"/>
          </a:p>
        </p:txBody>
      </p:sp>
      <p:grpSp>
        <p:nvGrpSpPr>
          <p:cNvPr id="17" name="Group 16"/>
          <p:cNvGrpSpPr/>
          <p:nvPr/>
        </p:nvGrpSpPr>
        <p:grpSpPr>
          <a:xfrm>
            <a:off x="257765" y="48371"/>
            <a:ext cx="8802015" cy="6245369"/>
            <a:chOff x="257765" y="48371"/>
            <a:chExt cx="8802015" cy="6245369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7765" y="966912"/>
              <a:ext cx="8639899" cy="5326828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 rotWithShape="1"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75836" b="-8906"/>
            <a:stretch/>
          </p:blipFill>
          <p:spPr>
            <a:xfrm>
              <a:off x="6254305" y="76865"/>
              <a:ext cx="187904" cy="380930"/>
            </a:xfrm>
            <a:prstGeom prst="rect">
              <a:avLst/>
            </a:prstGeom>
          </p:spPr>
        </p:pic>
        <p:cxnSp>
          <p:nvCxnSpPr>
            <p:cNvPr id="4" name="Straight Connector 3"/>
            <p:cNvCxnSpPr/>
            <p:nvPr/>
          </p:nvCxnSpPr>
          <p:spPr>
            <a:xfrm>
              <a:off x="6328161" y="518539"/>
              <a:ext cx="0" cy="160774"/>
            </a:xfrm>
            <a:prstGeom prst="line">
              <a:avLst/>
            </a:prstGeom>
            <a:ln w="38100">
              <a:solidFill>
                <a:srgbClr val="FF1428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0" name="TextBox 9"/>
            <p:cNvSpPr txBox="1"/>
            <p:nvPr/>
          </p:nvSpPr>
          <p:spPr>
            <a:xfrm>
              <a:off x="6442210" y="48371"/>
              <a:ext cx="2617570" cy="7309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 smtClean="0"/>
                <a:t>= Complete</a:t>
              </a:r>
            </a:p>
            <a:p>
              <a:pPr>
                <a:spcBef>
                  <a:spcPts val="600"/>
                </a:spcBef>
              </a:pPr>
              <a:r>
                <a:rPr lang="en-US" sz="1050" dirty="0" smtClean="0"/>
                <a:t>= In progress </a:t>
              </a:r>
            </a:p>
            <a:p>
              <a:pPr>
                <a:spcBef>
                  <a:spcPts val="600"/>
                </a:spcBef>
              </a:pPr>
              <a:r>
                <a:rPr lang="en-US" sz="1050" dirty="0"/>
                <a:t>= Status as of last board update (May 2018)</a:t>
              </a:r>
            </a:p>
          </p:txBody>
        </p:sp>
        <p:cxnSp>
          <p:nvCxnSpPr>
            <p:cNvPr id="13" name="Straight Connector 12"/>
            <p:cNvCxnSpPr/>
            <p:nvPr/>
          </p:nvCxnSpPr>
          <p:spPr>
            <a:xfrm flipH="1">
              <a:off x="2864093" y="1271954"/>
              <a:ext cx="2" cy="287215"/>
            </a:xfrm>
            <a:prstGeom prst="line">
              <a:avLst/>
            </a:prstGeom>
            <a:ln w="38100">
              <a:solidFill>
                <a:srgbClr val="FF1428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 flipH="1">
              <a:off x="2864093" y="1610090"/>
              <a:ext cx="2" cy="287215"/>
            </a:xfrm>
            <a:prstGeom prst="line">
              <a:avLst/>
            </a:prstGeom>
            <a:ln w="38100">
              <a:solidFill>
                <a:srgbClr val="FF1428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3845166" y="1943465"/>
              <a:ext cx="2" cy="287215"/>
            </a:xfrm>
            <a:prstGeom prst="line">
              <a:avLst/>
            </a:prstGeom>
            <a:ln w="38100">
              <a:solidFill>
                <a:srgbClr val="FF1428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4802429" y="2286366"/>
              <a:ext cx="2" cy="287215"/>
            </a:xfrm>
            <a:prstGeom prst="line">
              <a:avLst/>
            </a:prstGeom>
            <a:ln w="38100">
              <a:solidFill>
                <a:srgbClr val="FF1428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 flipH="1">
              <a:off x="2864093" y="2624503"/>
              <a:ext cx="2" cy="287215"/>
            </a:xfrm>
            <a:prstGeom prst="line">
              <a:avLst/>
            </a:prstGeom>
            <a:ln w="38100">
              <a:solidFill>
                <a:srgbClr val="FF1428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 flipH="1">
              <a:off x="1625843" y="2962638"/>
              <a:ext cx="2" cy="287215"/>
            </a:xfrm>
            <a:prstGeom prst="line">
              <a:avLst/>
            </a:prstGeom>
            <a:ln w="38100">
              <a:solidFill>
                <a:srgbClr val="FF1428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 flipH="1">
              <a:off x="2864091" y="3296337"/>
              <a:ext cx="2" cy="287215"/>
            </a:xfrm>
            <a:prstGeom prst="line">
              <a:avLst/>
            </a:prstGeom>
            <a:ln w="38100">
              <a:solidFill>
                <a:srgbClr val="FF1428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 flipH="1">
              <a:off x="2221153" y="3635089"/>
              <a:ext cx="2" cy="287215"/>
            </a:xfrm>
            <a:prstGeom prst="line">
              <a:avLst/>
            </a:prstGeom>
            <a:ln w="38100">
              <a:solidFill>
                <a:srgbClr val="FF1428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 flipH="1">
              <a:off x="2864089" y="3970070"/>
              <a:ext cx="2" cy="287215"/>
            </a:xfrm>
            <a:prstGeom prst="line">
              <a:avLst/>
            </a:prstGeom>
            <a:ln w="38100">
              <a:solidFill>
                <a:srgbClr val="FF1428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 flipH="1">
              <a:off x="2864093" y="4299761"/>
              <a:ext cx="2" cy="287215"/>
            </a:xfrm>
            <a:prstGeom prst="line">
              <a:avLst/>
            </a:prstGeom>
            <a:ln w="38100">
              <a:solidFill>
                <a:srgbClr val="FF1428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 flipH="1">
              <a:off x="3840417" y="4647423"/>
              <a:ext cx="2" cy="287215"/>
            </a:xfrm>
            <a:prstGeom prst="line">
              <a:avLst/>
            </a:prstGeom>
            <a:ln w="38100">
              <a:solidFill>
                <a:srgbClr val="FF1428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3840417" y="4985560"/>
              <a:ext cx="2" cy="287215"/>
            </a:xfrm>
            <a:prstGeom prst="line">
              <a:avLst/>
            </a:prstGeom>
            <a:ln w="38100">
              <a:solidFill>
                <a:srgbClr val="FF1428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 flipH="1">
              <a:off x="2864087" y="5322619"/>
              <a:ext cx="2" cy="287215"/>
            </a:xfrm>
            <a:prstGeom prst="line">
              <a:avLst/>
            </a:prstGeom>
            <a:ln w="38100">
              <a:solidFill>
                <a:srgbClr val="FF1428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>
            <a:xfrm flipH="1">
              <a:off x="2864085" y="5657073"/>
              <a:ext cx="2" cy="287215"/>
            </a:xfrm>
            <a:prstGeom prst="line">
              <a:avLst/>
            </a:prstGeom>
            <a:ln w="38100">
              <a:solidFill>
                <a:srgbClr val="FF1428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 flipH="1">
              <a:off x="2864085" y="5994952"/>
              <a:ext cx="2" cy="287215"/>
            </a:xfrm>
            <a:prstGeom prst="line">
              <a:avLst/>
            </a:prstGeom>
            <a:ln w="38100">
              <a:solidFill>
                <a:srgbClr val="FF1428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49344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90 </a:t>
            </a:r>
            <a:r>
              <a:rPr lang="en-US" dirty="0"/>
              <a:t>Day </a:t>
            </a:r>
            <a:r>
              <a:rPr lang="en-US" dirty="0" smtClean="0"/>
              <a:t>Outlook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6775C4-FF83-4AA7-9695-AAC1C0A4B08C}" type="slidenum">
              <a:rPr kumimoji="0" lang="en-US" sz="788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788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half" idx="1"/>
          </p:nvPr>
        </p:nvSpPr>
        <p:spPr>
          <a:xfrm>
            <a:off x="205740" y="974036"/>
            <a:ext cx="8743950" cy="5291682"/>
          </a:xfrm>
        </p:spPr>
        <p:txBody>
          <a:bodyPr vert="horz" lIns="91440" tIns="45720" rIns="91440" bIns="45720" numCol="2" spcCol="91440" rtlCol="0" anchor="t">
            <a:normAutofit lnSpcReduction="10000"/>
          </a:bodyPr>
          <a:lstStyle/>
          <a:p>
            <a:pPr marL="342900" indent="-3429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2000" dirty="0" smtClean="0">
                <a:solidFill>
                  <a:schemeClr val="tx1"/>
                </a:solidFill>
              </a:rPr>
              <a:t>Project Development</a:t>
            </a:r>
            <a:endParaRPr lang="en-US" sz="2000" dirty="0">
              <a:solidFill>
                <a:schemeClr val="tx1"/>
              </a:solidFill>
            </a:endParaRPr>
          </a:p>
          <a:p>
            <a:pPr marL="568325" lvl="1" indent="-276225">
              <a:buFont typeface="Arial" panose="020B0604020202020204" pitchFamily="34" charset="0"/>
              <a:buChar char="•"/>
            </a:pPr>
            <a:r>
              <a:rPr lang="en-US" sz="1600" dirty="0" smtClean="0"/>
              <a:t>Progress </a:t>
            </a:r>
            <a:r>
              <a:rPr lang="en-US" sz="1600" dirty="0"/>
              <a:t>s</a:t>
            </a:r>
            <a:r>
              <a:rPr lang="en-US" sz="1600" dirty="0" smtClean="0"/>
              <a:t>ystem design reviews</a:t>
            </a:r>
          </a:p>
          <a:p>
            <a:pPr marL="568325" lvl="1" indent="-276225">
              <a:buFont typeface="Arial" panose="020B0604020202020204" pitchFamily="34" charset="0"/>
              <a:buChar char="•"/>
            </a:pPr>
            <a:r>
              <a:rPr lang="en-US" sz="1600" dirty="0" smtClean="0"/>
              <a:t>Operations and </a:t>
            </a:r>
            <a:r>
              <a:rPr lang="en-US" sz="1600" dirty="0" err="1" smtClean="0"/>
              <a:t>Keolis</a:t>
            </a:r>
            <a:r>
              <a:rPr lang="en-US" sz="1600" dirty="0" smtClean="0"/>
              <a:t> coordination</a:t>
            </a:r>
            <a:endParaRPr lang="en-US" sz="1600" dirty="0"/>
          </a:p>
          <a:p>
            <a:pPr marL="568325" lvl="1" indent="-276225">
              <a:buFont typeface="Arial" panose="020B0604020202020204" pitchFamily="34" charset="0"/>
              <a:buChar char="•"/>
            </a:pPr>
            <a:r>
              <a:rPr lang="en-US" sz="1600" dirty="0" smtClean="0"/>
              <a:t>Pilot program development</a:t>
            </a:r>
            <a:endParaRPr lang="en-US" sz="1600" dirty="0"/>
          </a:p>
          <a:p>
            <a:pPr marL="568325" lvl="1" indent="-276225">
              <a:buFont typeface="Arial" panose="020B0604020202020204" pitchFamily="34" charset="0"/>
              <a:buChar char="•"/>
            </a:pPr>
            <a:r>
              <a:rPr lang="en-US" sz="1600" dirty="0" smtClean="0"/>
              <a:t>User testing with prototype devices and software</a:t>
            </a:r>
          </a:p>
          <a:p>
            <a:pPr marL="568325" lvl="1" indent="-276225">
              <a:buFont typeface="Arial" panose="020B0604020202020204" pitchFamily="34" charset="0"/>
              <a:buChar char="•"/>
            </a:pPr>
            <a:r>
              <a:rPr lang="en-US" sz="1600" dirty="0" smtClean="0"/>
              <a:t>First prototype installations on vehicles</a:t>
            </a:r>
          </a:p>
          <a:p>
            <a:pPr marL="568325" lvl="1" indent="-276225">
              <a:buFont typeface="Arial" panose="020B0604020202020204" pitchFamily="34" charset="0"/>
              <a:buChar char="•"/>
            </a:pPr>
            <a:r>
              <a:rPr lang="en-US" sz="1600" dirty="0" smtClean="0"/>
              <a:t>Policy and configuration development</a:t>
            </a:r>
          </a:p>
          <a:p>
            <a:pPr marL="568325" lvl="1" indent="-276225">
              <a:buFont typeface="Arial" panose="020B0604020202020204" pitchFamily="34" charset="0"/>
              <a:buChar char="•"/>
            </a:pPr>
            <a:r>
              <a:rPr lang="en-US" sz="1600" dirty="0" smtClean="0"/>
              <a:t>Continue peer reviews &amp; coordination</a:t>
            </a:r>
          </a:p>
          <a:p>
            <a:pPr marL="568325" lvl="1" indent="-276225">
              <a:buFont typeface="Arial" panose="020B0604020202020204" pitchFamily="34" charset="0"/>
              <a:buChar char="•"/>
            </a:pPr>
            <a:r>
              <a:rPr lang="en-US" sz="1600" dirty="0" smtClean="0"/>
              <a:t>Test lab (model office) buildout</a:t>
            </a:r>
          </a:p>
          <a:p>
            <a:pPr marL="292100" lvl="1" indent="0">
              <a:buNone/>
            </a:pPr>
            <a:endParaRPr lang="en-US" sz="1600" dirty="0"/>
          </a:p>
          <a:p>
            <a:pPr marL="342900" indent="-3429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/>
                </a:solidFill>
              </a:rPr>
              <a:t>Design-Build Contract</a:t>
            </a:r>
          </a:p>
          <a:p>
            <a:pPr marL="569595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Finalize base technical concept</a:t>
            </a:r>
          </a:p>
          <a:p>
            <a:pPr marL="569595" lvl="1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Issue </a:t>
            </a:r>
            <a:r>
              <a:rPr lang="en-US" sz="1600" dirty="0"/>
              <a:t>draft </a:t>
            </a:r>
            <a:r>
              <a:rPr lang="en-US" sz="1600" dirty="0" smtClean="0"/>
              <a:t>RFP</a:t>
            </a:r>
          </a:p>
          <a:p>
            <a:pPr marL="569595" lvl="1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Begin commercial negotiations</a:t>
            </a:r>
          </a:p>
          <a:p>
            <a:pPr marL="569595" lvl="1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inalize DB RFP</a:t>
            </a:r>
          </a:p>
          <a:p>
            <a:pPr marL="569595" lvl="1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569595" lvl="1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569595" lvl="1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342900" indent="-3429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/>
                </a:solidFill>
              </a:rPr>
              <a:t>Staff Augmentation</a:t>
            </a:r>
          </a:p>
          <a:p>
            <a:pPr marL="569595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700" dirty="0"/>
              <a:t>Continue to build internal team</a:t>
            </a:r>
          </a:p>
          <a:p>
            <a:pPr marL="971232" lvl="3" indent="-285750">
              <a:buFont typeface="Lato" panose="020F0502020204030203" pitchFamily="34" charset="0"/>
              <a:buChar char="−"/>
            </a:pPr>
            <a:r>
              <a:rPr lang="en-US" sz="1600" dirty="0"/>
              <a:t>Customer and employee transition team lead</a:t>
            </a:r>
          </a:p>
          <a:p>
            <a:pPr marL="971232" lvl="3" indent="-285750">
              <a:buFont typeface="Lato" panose="020F0502020204030203" pitchFamily="34" charset="0"/>
              <a:buChar char="−"/>
            </a:pPr>
            <a:r>
              <a:rPr lang="en-US" sz="1600" dirty="0"/>
              <a:t>PM for DB and Installation</a:t>
            </a:r>
          </a:p>
          <a:p>
            <a:pPr marL="971232" lvl="3" indent="-285750">
              <a:buFont typeface="Lato" panose="020F0502020204030203" pitchFamily="34" charset="0"/>
              <a:buChar char="−"/>
            </a:pPr>
            <a:r>
              <a:rPr lang="en-US" sz="1600" dirty="0"/>
              <a:t>Technical PMs for Policy </a:t>
            </a:r>
            <a:r>
              <a:rPr lang="en-US" sz="1600" dirty="0" smtClean="0"/>
              <a:t>Implementation</a:t>
            </a:r>
            <a:r>
              <a:rPr lang="en-US" sz="1600" dirty="0"/>
              <a:t> </a:t>
            </a:r>
            <a:r>
              <a:rPr lang="en-US" sz="1600" dirty="0" smtClean="0"/>
              <a:t>and System Implementation </a:t>
            </a:r>
            <a:endParaRPr lang="en-US" sz="1600" dirty="0"/>
          </a:p>
          <a:p>
            <a:pPr marL="971232" lvl="3" indent="-285750">
              <a:buFont typeface="Lato" panose="020F0502020204030203" pitchFamily="34" charset="0"/>
              <a:buChar char="−"/>
            </a:pPr>
            <a:r>
              <a:rPr lang="en-US" sz="1600" dirty="0"/>
              <a:t>Risk and Mediation Director</a:t>
            </a:r>
          </a:p>
          <a:p>
            <a:pPr marL="971232" lvl="3" indent="-285750">
              <a:buFont typeface="Lato" panose="020F0502020204030203" pitchFamily="34" charset="0"/>
              <a:buChar char="−"/>
            </a:pPr>
            <a:r>
              <a:rPr lang="en-US" sz="1600" dirty="0"/>
              <a:t>Contracts Manager</a:t>
            </a:r>
          </a:p>
          <a:p>
            <a:pPr marL="971232" lvl="3" indent="-285750">
              <a:buFont typeface="Lato" panose="020F0502020204030203" pitchFamily="34" charset="0"/>
              <a:buChar char="−"/>
            </a:pPr>
            <a:r>
              <a:rPr lang="en-US" sz="1600" dirty="0"/>
              <a:t>Project and document controls</a:t>
            </a:r>
          </a:p>
          <a:p>
            <a:pPr marL="971232" lvl="3" indent="-285750">
              <a:buFont typeface="Lato" panose="020F0502020204030203" pitchFamily="34" charset="0"/>
              <a:buChar char="−"/>
            </a:pPr>
            <a:r>
              <a:rPr lang="en-US" sz="1600" dirty="0"/>
              <a:t>Finance lead</a:t>
            </a:r>
          </a:p>
          <a:p>
            <a:pPr marL="569595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700" dirty="0"/>
              <a:t>Consultant procurement</a:t>
            </a:r>
          </a:p>
          <a:p>
            <a:pPr marL="971232" lvl="3" indent="-285750">
              <a:lnSpc>
                <a:spcPct val="100000"/>
              </a:lnSpc>
              <a:buFont typeface="Lato" panose="020F0502020204030203" pitchFamily="34" charset="0"/>
              <a:buChar char="−"/>
            </a:pPr>
            <a:r>
              <a:rPr lang="en-US" sz="1600" dirty="0"/>
              <a:t>Payment technology, privacy, and fare reconciliation assurance</a:t>
            </a:r>
          </a:p>
          <a:p>
            <a:pPr marL="971232" lvl="3" indent="-285750">
              <a:lnSpc>
                <a:spcPct val="100000"/>
              </a:lnSpc>
              <a:buFont typeface="Lato" panose="020F0502020204030203" pitchFamily="34" charset="0"/>
              <a:buChar char="−"/>
            </a:pPr>
            <a:r>
              <a:rPr lang="en-US" sz="1600" dirty="0"/>
              <a:t>Installation PM/CM</a:t>
            </a:r>
          </a:p>
          <a:p>
            <a:pPr marL="971232" lvl="3" indent="-285750">
              <a:lnSpc>
                <a:spcPct val="100000"/>
              </a:lnSpc>
              <a:buFont typeface="Lato" panose="020F0502020204030203" pitchFamily="34" charset="0"/>
              <a:buChar char="−"/>
            </a:pPr>
            <a:r>
              <a:rPr lang="en-US" sz="1600" dirty="0"/>
              <a:t>Rollout branding, marketing, communications </a:t>
            </a:r>
          </a:p>
          <a:p>
            <a:pPr marL="569595" lvl="1" indent="-285750"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all" spc="0" normalizeH="0" baseline="0" noProof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FC 2.0:  AUTOMATED FARE COLLECTION</a:t>
            </a:r>
            <a:endParaRPr kumimoji="0" lang="en-US" sz="1000" b="0" i="0" u="none" strike="noStrike" kern="1200" cap="all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4980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eer learnings  - Vancouver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6775C4-FF83-4AA7-9695-AAC1C0A4B08C}" type="slidenum">
              <a:rPr kumimoji="0" lang="en-US" sz="788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788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half" idx="1"/>
          </p:nvPr>
        </p:nvSpPr>
        <p:spPr>
          <a:xfrm>
            <a:off x="205739" y="974036"/>
            <a:ext cx="10952118" cy="5291682"/>
          </a:xfrm>
        </p:spPr>
        <p:txBody>
          <a:bodyPr vert="horz" lIns="91440" tIns="45720" rIns="91440" bIns="45720" numCol="2" spcCol="91440" rtlCol="0" anchor="t"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err="1" smtClean="0">
                <a:solidFill>
                  <a:schemeClr val="tx1"/>
                </a:solidFill>
              </a:rPr>
              <a:t>Translink</a:t>
            </a:r>
            <a:r>
              <a:rPr lang="en-US" sz="2000" dirty="0" smtClean="0">
                <a:solidFill>
                  <a:schemeClr val="tx1"/>
                </a:solidFill>
              </a:rPr>
              <a:t> (Vancouver-area peer agency) and Cubic (system integrator there) hosted MBTA in July 2018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Some similar equipment deployed to what is planned as part of AFC 2.0, and some contract similar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Focuses were:</a:t>
            </a:r>
          </a:p>
          <a:p>
            <a:pPr marL="569913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Vendor relationship </a:t>
            </a:r>
            <a:br>
              <a:rPr lang="en-US" sz="1600" dirty="0"/>
            </a:br>
            <a:r>
              <a:rPr lang="en-US" sz="1600" dirty="0"/>
              <a:t>management successes </a:t>
            </a:r>
            <a:br>
              <a:rPr lang="en-US" sz="1600" dirty="0"/>
            </a:br>
            <a:r>
              <a:rPr lang="en-US" sz="1600" dirty="0"/>
              <a:t>and challenges</a:t>
            </a:r>
          </a:p>
          <a:p>
            <a:pPr marL="569913" lvl="1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Equipment </a:t>
            </a:r>
            <a:r>
              <a:rPr lang="en-US" sz="1600" dirty="0">
                <a:solidFill>
                  <a:schemeClr val="tx1"/>
                </a:solidFill>
              </a:rPr>
              <a:t>usability and </a:t>
            </a:r>
            <a:r>
              <a:rPr lang="en-US" sz="1600" dirty="0" smtClean="0">
                <a:solidFill>
                  <a:schemeClr val="tx1"/>
                </a:solidFill>
              </a:rPr>
              <a:t/>
            </a:r>
            <a:br>
              <a:rPr lang="en-US" sz="1600" dirty="0" smtClean="0">
                <a:solidFill>
                  <a:schemeClr val="tx1"/>
                </a:solidFill>
              </a:rPr>
            </a:br>
            <a:r>
              <a:rPr lang="en-US" sz="1600" dirty="0" smtClean="0">
                <a:solidFill>
                  <a:schemeClr val="tx1"/>
                </a:solidFill>
              </a:rPr>
              <a:t>reliability</a:t>
            </a:r>
            <a:endParaRPr lang="en-US" sz="1600" dirty="0">
              <a:solidFill>
                <a:schemeClr val="tx1"/>
              </a:solidFill>
            </a:endParaRPr>
          </a:p>
          <a:p>
            <a:pPr marL="569913" lvl="1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Card and phone clash – </a:t>
            </a:r>
            <a:br>
              <a:rPr lang="en-US" sz="1600" dirty="0" smtClean="0">
                <a:solidFill>
                  <a:schemeClr val="tx1"/>
                </a:solidFill>
              </a:rPr>
            </a:br>
            <a:r>
              <a:rPr lang="en-US" sz="1600" dirty="0" smtClean="0">
                <a:solidFill>
                  <a:schemeClr val="tx1"/>
                </a:solidFill>
              </a:rPr>
              <a:t>communicating with customers</a:t>
            </a:r>
          </a:p>
          <a:p>
            <a:pPr marL="569913" lvl="1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AFC call center and order </a:t>
            </a:r>
            <a:br>
              <a:rPr lang="en-US" sz="1600" dirty="0" smtClean="0">
                <a:solidFill>
                  <a:schemeClr val="tx1"/>
                </a:solidFill>
              </a:rPr>
            </a:br>
            <a:r>
              <a:rPr lang="en-US" sz="1600" dirty="0" smtClean="0">
                <a:solidFill>
                  <a:schemeClr val="tx1"/>
                </a:solidFill>
              </a:rPr>
              <a:t>fulfillment operation</a:t>
            </a:r>
          </a:p>
          <a:p>
            <a:pPr marL="569913" lvl="1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System and KPI monitoring</a:t>
            </a:r>
          </a:p>
          <a:p>
            <a:pPr marL="569913" lvl="1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Sponsorship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all" spc="0" normalizeH="0" baseline="0" noProof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FC 2.0:  AUTOMATED FARE COLLECTION</a:t>
            </a:r>
            <a:endParaRPr kumimoji="0" lang="en-US" sz="1000" b="0" i="0" u="none" strike="noStrike" kern="1200" cap="all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1791" y="1230924"/>
            <a:ext cx="2236294" cy="298172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51791" y="4372869"/>
            <a:ext cx="2305050" cy="17145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89966" y="2663278"/>
            <a:ext cx="2399947" cy="179996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89966" y="4735286"/>
            <a:ext cx="2399947" cy="1352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40381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ilot Updat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6775C4-FF83-4AA7-9695-AAC1C0A4B08C}" type="slidenum">
              <a:rPr kumimoji="0" lang="en-US" sz="788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788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half" idx="1"/>
          </p:nvPr>
        </p:nvSpPr>
        <p:spPr>
          <a:xfrm>
            <a:off x="236543" y="984421"/>
            <a:ext cx="8743950" cy="1300450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Pilot participants representative </a:t>
            </a:r>
            <a:r>
              <a:rPr lang="en-US" dirty="0">
                <a:solidFill>
                  <a:schemeClr val="tx1"/>
                </a:solidFill>
              </a:rPr>
              <a:t>of the larger population of MBTA </a:t>
            </a:r>
            <a:r>
              <a:rPr lang="en-US" dirty="0" smtClean="0">
                <a:solidFill>
                  <a:schemeClr val="tx1"/>
                </a:solidFill>
              </a:rPr>
              <a:t>custom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Locations </a:t>
            </a:r>
            <a:r>
              <a:rPr lang="en-US" dirty="0" smtClean="0">
                <a:solidFill>
                  <a:schemeClr val="tx1"/>
                </a:solidFill>
              </a:rPr>
              <a:t>coordinated </a:t>
            </a:r>
            <a:r>
              <a:rPr lang="en-US" dirty="0">
                <a:solidFill>
                  <a:schemeClr val="tx1"/>
                </a:solidFill>
              </a:rPr>
              <a:t>to ensure the system can be used as comprehensively as </a:t>
            </a:r>
            <a:r>
              <a:rPr lang="en-US" dirty="0" smtClean="0">
                <a:solidFill>
                  <a:schemeClr val="tx1"/>
                </a:solidFill>
              </a:rPr>
              <a:t>possib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Covering real </a:t>
            </a:r>
            <a:r>
              <a:rPr lang="en-US" dirty="0">
                <a:solidFill>
                  <a:schemeClr val="tx1"/>
                </a:solidFill>
              </a:rPr>
              <a:t>world use </a:t>
            </a:r>
            <a:r>
              <a:rPr lang="en-US" dirty="0" smtClean="0">
                <a:solidFill>
                  <a:schemeClr val="tx1"/>
                </a:solidFill>
              </a:rPr>
              <a:t>case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all" spc="0" normalizeH="0" baseline="0" noProof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FC 2.0:  AUTOMATED FARE COLLECTION</a:t>
            </a:r>
            <a:endParaRPr kumimoji="0" lang="en-US" sz="1000" b="0" i="0" u="none" strike="noStrike" kern="1200" cap="all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32690" y="5101690"/>
            <a:ext cx="1745025" cy="981577"/>
          </a:xfrm>
          <a:prstGeom prst="rect">
            <a:avLst/>
          </a:prstGeom>
        </p:spPr>
      </p:pic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1568920"/>
              </p:ext>
            </p:extLst>
          </p:nvPr>
        </p:nvGraphicFramePr>
        <p:xfrm>
          <a:off x="324693" y="2284870"/>
          <a:ext cx="8524032" cy="3853877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875457">
                  <a:extLst>
                    <a:ext uri="{9D8B030D-6E8A-4147-A177-3AD203B41FA5}">
                      <a16:colId xmlns:a16="http://schemas.microsoft.com/office/drawing/2014/main" xmlns="" val="1283875953"/>
                    </a:ext>
                  </a:extLst>
                </a:gridCol>
                <a:gridCol w="3533775">
                  <a:extLst>
                    <a:ext uri="{9D8B030D-6E8A-4147-A177-3AD203B41FA5}">
                      <a16:colId xmlns:a16="http://schemas.microsoft.com/office/drawing/2014/main" xmlns="" val="2545909230"/>
                    </a:ext>
                  </a:extLst>
                </a:gridCol>
                <a:gridCol w="4114800">
                  <a:extLst>
                    <a:ext uri="{9D8B030D-6E8A-4147-A177-3AD203B41FA5}">
                      <a16:colId xmlns:a16="http://schemas.microsoft.com/office/drawing/2014/main" xmlns="" val="1752264514"/>
                    </a:ext>
                  </a:extLst>
                </a:gridCol>
              </a:tblGrid>
              <a:tr h="334151"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Pilot Phase 1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Pilot Phase 2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983628083"/>
                  </a:ext>
                </a:extLst>
              </a:tr>
              <a:tr h="50405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When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Late 2019-early 2020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Early 2020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829077071"/>
                  </a:ext>
                </a:extLst>
              </a:tr>
              <a:tr h="1362075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Who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Small-scale rollout of a small portion of System elements to a group of friendly users (people known to the MBTA) designed to demonstrate System compliance in actual use conditions.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Rollout of a larger portion of System elements to a limited number of users from the general public designed to demonstrate the SI’s operating and maintenance capabilities and confirm the transition approach.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31574828"/>
                  </a:ext>
                </a:extLst>
              </a:tr>
              <a:tr h="1652472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Wher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Green Line</a:t>
                      </a:r>
                    </a:p>
                    <a:p>
                      <a:r>
                        <a:rPr lang="en-US" sz="1600" dirty="0" smtClean="0"/>
                        <a:t>Haverhill Lin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Green Line</a:t>
                      </a:r>
                    </a:p>
                    <a:p>
                      <a:r>
                        <a:rPr lang="en-US" sz="1600" dirty="0" smtClean="0"/>
                        <a:t>Haverhill Line</a:t>
                      </a:r>
                    </a:p>
                    <a:p>
                      <a:r>
                        <a:rPr lang="en-US" sz="1600" dirty="0" smtClean="0"/>
                        <a:t>Silver Line SL4 and SL5</a:t>
                      </a:r>
                    </a:p>
                    <a:p>
                      <a:r>
                        <a:rPr lang="en-US" sz="1600" dirty="0" smtClean="0"/>
                        <a:t>Bus</a:t>
                      </a:r>
                      <a:r>
                        <a:rPr lang="en-US" sz="1600" baseline="0" dirty="0" smtClean="0"/>
                        <a:t> routes 28 and 39</a:t>
                      </a:r>
                      <a:endParaRPr lang="en-US" sz="1600" dirty="0" smtClean="0"/>
                    </a:p>
                    <a:p>
                      <a:r>
                        <a:rPr lang="en-US" sz="1600" dirty="0" smtClean="0"/>
                        <a:t>Orange Line</a:t>
                      </a:r>
                    </a:p>
                    <a:p>
                      <a:r>
                        <a:rPr lang="en-US" sz="1600" dirty="0" smtClean="0"/>
                        <a:t>Lowell Li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954662341"/>
                  </a:ext>
                </a:extLst>
              </a:tr>
            </a:tbl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85875" y="5117942"/>
            <a:ext cx="1265433" cy="949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3544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sign-Build Update 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86775C4-FF83-4AA7-9695-AAC1C0A4B08C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0"/>
          </p:nvPr>
        </p:nvSpPr>
        <p:spPr>
          <a:xfrm>
            <a:off x="227306" y="923122"/>
            <a:ext cx="8743950" cy="644272"/>
          </a:xfrm>
        </p:spPr>
        <p:txBody>
          <a:bodyPr/>
          <a:lstStyle/>
          <a:p>
            <a:r>
              <a:rPr lang="en-US" dirty="0"/>
              <a:t>DB Procurement is ongoing, </a:t>
            </a:r>
            <a:r>
              <a:rPr lang="en-US" dirty="0" smtClean="0"/>
              <a:t>ALONGSIDE </a:t>
            </a:r>
            <a:r>
              <a:rPr lang="en-US" dirty="0"/>
              <a:t>Design development with the SI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AFC 2.0:  AUTOMATED FARE COLLECTION</a:t>
            </a:r>
            <a:endParaRPr lang="en-US" dirty="0"/>
          </a:p>
        </p:txBody>
      </p:sp>
      <p:graphicFrame>
        <p:nvGraphicFramePr>
          <p:cNvPr id="7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83092239"/>
              </p:ext>
            </p:extLst>
          </p:nvPr>
        </p:nvGraphicFramePr>
        <p:xfrm>
          <a:off x="215265" y="1273833"/>
          <a:ext cx="8718429" cy="4968240"/>
        </p:xfrm>
        <a:graphic>
          <a:graphicData uri="http://schemas.openxmlformats.org/drawingml/2006/table">
            <a:tbl>
              <a:tblPr firstRow="1" bandRow="1"/>
              <a:tblGrid>
                <a:gridCol w="277482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xmlns="" val="1371250109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xmlns="" val="3818901287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xmlns="" val="3880987141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xmlns="" val="273300187"/>
                    </a:ext>
                  </a:extLst>
                </a:gridCol>
              </a:tblGrid>
              <a:tr h="280358"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  <a:lumOff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1" cap="all" baseline="0" dirty="0">
                          <a:solidFill>
                            <a:schemeClr val="bg1"/>
                          </a:solidFill>
                        </a:rPr>
                        <a:t>2016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  <a:lumOff val="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800" b="1" cap="all" baseline="0" dirty="0">
                          <a:solidFill>
                            <a:schemeClr val="bg1"/>
                          </a:solidFill>
                        </a:rPr>
                        <a:t>2017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  <a:lumOff val="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cap="all" baseline="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  <a:lumOff val="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cap="all" baseline="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  <a:lumOff val="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cap="all" baseline="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  <a:lumOff val="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800" b="1" cap="all" baseline="0" dirty="0">
                          <a:solidFill>
                            <a:srgbClr val="FFFFFF"/>
                          </a:solidFill>
                        </a:rPr>
                        <a:t>2018</a:t>
                      </a:r>
                      <a:endParaRPr lang="en-US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  <a:lumOff val="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cap="all" baseline="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  <a:lumOff val="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cap="all" baseline="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  <a:lumOff val="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cap="all" baseline="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  <a:lumOff val="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  <a:lumOff val="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800" b="1" cap="all" baseline="0" dirty="0">
                          <a:solidFill>
                            <a:srgbClr val="FFFFFF"/>
                          </a:solidFill>
                        </a:rPr>
                        <a:t>2019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  <a:lumOff val="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800" b="1" cap="all" baseline="0" dirty="0">
                        <a:solidFill>
                          <a:srgbClr val="FFFFFF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  <a:lumOff val="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800" b="1" cap="all" baseline="0" dirty="0">
                        <a:solidFill>
                          <a:srgbClr val="FFFFFF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  <a:lumOff val="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8376101"/>
                  </a:ext>
                </a:extLst>
              </a:tr>
              <a:tr h="2522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1400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800" b="1" cap="all" baseline="0" dirty="0"/>
                        <a:t>Q4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lvl="0" algn="ctr">
                        <a:buNone/>
                      </a:pPr>
                      <a:r>
                        <a:rPr lang="en-US" sz="800" b="1" cap="all" baseline="0" dirty="0"/>
                        <a:t>q1</a:t>
                      </a:r>
                      <a:endParaRPr lang="en-US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lvl="0" algn="ctr">
                        <a:buNone/>
                      </a:pPr>
                      <a:r>
                        <a:rPr lang="en-US" sz="800" b="1" cap="all" baseline="0" dirty="0"/>
                        <a:t>q2</a:t>
                      </a:r>
                      <a:endParaRPr lang="en-US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lvl="0" algn="ctr">
                        <a:buNone/>
                      </a:pPr>
                      <a:r>
                        <a:rPr lang="en-US" sz="800" b="1" cap="all" baseline="0" dirty="0"/>
                        <a:t>q3</a:t>
                      </a:r>
                      <a:endParaRPr lang="en-US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lvl="0" algn="ctr">
                        <a:buNone/>
                      </a:pPr>
                      <a:r>
                        <a:rPr lang="en-US" sz="800" b="1" cap="all" baseline="0" dirty="0"/>
                        <a:t>q4</a:t>
                      </a:r>
                      <a:endParaRPr lang="en-US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lvl="0" algn="ctr">
                        <a:buNone/>
                      </a:pPr>
                      <a:r>
                        <a:rPr lang="en-US" sz="800" b="1" cap="all" baseline="0" dirty="0"/>
                        <a:t>q1</a:t>
                      </a:r>
                      <a:endParaRPr lang="en-US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lvl="0" algn="ctr">
                        <a:buNone/>
                      </a:pPr>
                      <a:r>
                        <a:rPr lang="en-US" sz="800" b="1" cap="all" baseline="0" dirty="0"/>
                        <a:t>q2</a:t>
                      </a:r>
                      <a:endParaRPr lang="en-US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lvl="0" algn="ctr">
                        <a:buNone/>
                      </a:pPr>
                      <a:r>
                        <a:rPr lang="en-US" sz="800" b="1" cap="all" baseline="0" dirty="0"/>
                        <a:t>q3</a:t>
                      </a:r>
                      <a:endParaRPr lang="en-US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lvl="0" algn="ctr">
                        <a:buNone/>
                      </a:pPr>
                      <a:r>
                        <a:rPr lang="en-US" sz="800" b="1" cap="all" baseline="0" dirty="0"/>
                        <a:t>q4</a:t>
                      </a:r>
                      <a:endParaRPr lang="en-US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800" b="1" cap="all" baseline="0" dirty="0">
                          <a:solidFill>
                            <a:srgbClr val="FFFFFF"/>
                          </a:solidFill>
                        </a:rPr>
                        <a:t>Q1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800" b="1" cap="all" baseline="0" dirty="0">
                          <a:solidFill>
                            <a:srgbClr val="FFFFFF"/>
                          </a:solidFill>
                        </a:rPr>
                        <a:t>Q2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800" b="1" cap="all" baseline="0" dirty="0">
                          <a:solidFill>
                            <a:srgbClr val="FFFFFF"/>
                          </a:solidFill>
                        </a:rPr>
                        <a:t>Q3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800" b="1" cap="all" baseline="0" dirty="0">
                          <a:solidFill>
                            <a:srgbClr val="FFFFFF"/>
                          </a:solidFill>
                        </a:rPr>
                        <a:t>Q4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24221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200" b="1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Issue request for qualifications</a:t>
                      </a:r>
                      <a:endParaRPr lang="en-US" sz="1200" b="1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200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22</a:t>
                      </a:r>
                      <a:r>
                        <a:rPr lang="en-US" sz="1200" kern="1200" baseline="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 Dec 2016</a:t>
                      </a:r>
                      <a:endParaRPr lang="en-US" sz="1200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rtl="0">
                        <a:buNone/>
                      </a:pPr>
                      <a:endParaRPr lang="en-US" sz="1400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rtl="0">
                        <a:buNone/>
                      </a:pPr>
                      <a:endParaRPr lang="en-US" sz="1400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rtl="0">
                        <a:buNone/>
                      </a:pPr>
                      <a:endParaRPr lang="en-US" sz="1400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rtl="0">
                        <a:buNone/>
                      </a:pPr>
                      <a:endParaRPr lang="en-US" sz="1400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rtl="0">
                        <a:buNone/>
                      </a:pPr>
                      <a:endParaRPr lang="en-US" sz="1400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rtl="0">
                        <a:buNone/>
                      </a:pPr>
                      <a:endParaRPr lang="en-US" sz="1400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rtl="0">
                        <a:buNone/>
                      </a:pPr>
                      <a:endParaRPr lang="en-US" sz="1400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rtl="0">
                        <a:buNone/>
                      </a:pPr>
                      <a:endParaRPr lang="en-US" sz="1400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rtl="0">
                        <a:buNone/>
                      </a:pPr>
                      <a:endParaRPr lang="en-US" sz="1400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400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400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400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400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95702574"/>
                  </a:ext>
                </a:extLst>
              </a:tr>
              <a:tr h="4328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dk1"/>
                          </a:solidFill>
                          <a:latin typeface="Calibri"/>
                          <a:ea typeface="+mn-ea"/>
                          <a:cs typeface="+mn-cs"/>
                        </a:rPr>
                        <a:t>Complete shortlisting</a:t>
                      </a:r>
                      <a:endParaRPr lang="en-US" sz="1200" b="1" kern="1200" dirty="0">
                        <a:solidFill>
                          <a:schemeClr val="dk1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Calibri"/>
                          <a:ea typeface="+mn-ea"/>
                          <a:cs typeface="+mn-cs"/>
                        </a:rPr>
                        <a:t>20</a:t>
                      </a:r>
                      <a:r>
                        <a:rPr lang="en-US" sz="1200" kern="1200" baseline="0" dirty="0">
                          <a:solidFill>
                            <a:schemeClr val="dk1"/>
                          </a:solidFill>
                          <a:latin typeface="Calibri"/>
                          <a:ea typeface="+mn-ea"/>
                          <a:cs typeface="+mn-cs"/>
                        </a:rPr>
                        <a:t> May 2017</a:t>
                      </a:r>
                      <a:endParaRPr lang="en-US" sz="1200" kern="1200" dirty="0">
                        <a:solidFill>
                          <a:schemeClr val="dk1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400" kern="1200" dirty="0">
                        <a:solidFill>
                          <a:schemeClr val="dk1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400" kern="1200" dirty="0">
                        <a:solidFill>
                          <a:schemeClr val="dk1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400" kern="1200" dirty="0">
                        <a:solidFill>
                          <a:schemeClr val="dk1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400" kern="1200" dirty="0">
                        <a:solidFill>
                          <a:schemeClr val="dk1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400" kern="1200" dirty="0">
                        <a:solidFill>
                          <a:schemeClr val="dk1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400" kern="1200" dirty="0">
                        <a:solidFill>
                          <a:schemeClr val="dk1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400" kern="1200" dirty="0">
                        <a:solidFill>
                          <a:schemeClr val="dk1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400" kern="1200" dirty="0">
                        <a:solidFill>
                          <a:schemeClr val="dk1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400" kern="1200" dirty="0">
                        <a:solidFill>
                          <a:schemeClr val="dk1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defTabSz="914400" eaLnBrk="1" latinLnBrk="0" hangingPunct="1">
                        <a:buNone/>
                      </a:pPr>
                      <a:endParaRPr lang="en-US" sz="1400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defTabSz="914400" eaLnBrk="1" latinLnBrk="0" hangingPunct="1">
                        <a:buNone/>
                      </a:pPr>
                      <a:endParaRPr lang="en-US" sz="1400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defTabSz="914400" eaLnBrk="1" latinLnBrk="0" hangingPunct="1">
                        <a:buNone/>
                      </a:pPr>
                      <a:endParaRPr lang="en-US" sz="1400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defTabSz="914400" eaLnBrk="1" latinLnBrk="0" hangingPunct="1">
                        <a:buNone/>
                      </a:pPr>
                      <a:endParaRPr lang="en-US" sz="1400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81137115"/>
                  </a:ext>
                </a:extLst>
              </a:tr>
              <a:tr h="388528"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200" b="1" kern="1200" baseline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Design </a:t>
                      </a:r>
                      <a:r>
                        <a:rPr lang="en-US" sz="1200" b="1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development </a:t>
                      </a:r>
                      <a:r>
                        <a:rPr lang="en-US" sz="1200" b="1" kern="1200" baseline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with SI</a:t>
                      </a:r>
                    </a:p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200" kern="1200" baseline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21 Nov 2017 – </a:t>
                      </a:r>
                      <a:r>
                        <a:rPr lang="en-US" sz="12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Late </a:t>
                      </a:r>
                      <a:r>
                        <a:rPr lang="en-US" sz="1200" kern="1200" baseline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2018</a:t>
                      </a:r>
                      <a:endParaRPr lang="en-US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defTabSz="914400" eaLnBrk="1" latinLnBrk="0" hangingPunct="1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lvl="0" defTabSz="914400" eaLnBrk="1" latinLnBrk="0" hangingPunct="1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lvl="0" defTabSz="914400" eaLnBrk="1" latinLnBrk="0" hangingPunct="1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lvl="0" defTabSz="914400" eaLnBrk="1" latinLnBrk="0" hangingPunct="1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lvl="0" defTabSz="914400" eaLnBrk="1" latinLnBrk="0" hangingPunct="1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lvl="0" defTabSz="914400" eaLnBrk="1" latinLnBrk="0" hangingPunct="1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lvl="0" defTabSz="914400" eaLnBrk="1" latinLnBrk="0" hangingPunct="1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lvl="0" defTabSz="914400" eaLnBrk="1" latinLnBrk="0" hangingPunct="1">
                        <a:buNone/>
                      </a:pPr>
                      <a:endParaRPr lang="en-US" sz="1400" kern="1200" dirty="0">
                        <a:solidFill>
                          <a:schemeClr val="dk1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lvl="0" defTabSz="914400" eaLnBrk="1" latinLnBrk="0" hangingPunct="1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lvl="0" defTabSz="914400" eaLnBrk="1" latinLnBrk="0" hangingPunct="1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lvl="0" defTabSz="914400" eaLnBrk="1" latinLnBrk="0" hangingPunct="1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lvl="0" defTabSz="914400" eaLnBrk="1" latinLnBrk="0" hangingPunct="1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lvl="0" defTabSz="914400" eaLnBrk="1" latinLnBrk="0" hangingPunct="1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8852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troduce RFP scope to DB shortlist</a:t>
                      </a:r>
                    </a:p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2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30 May 2018</a:t>
                      </a:r>
                      <a:endParaRPr lang="en-US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defTabSz="914400" eaLnBrk="1" latinLnBrk="0" hangingPunct="1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lvl="0" defTabSz="914400" eaLnBrk="1" latinLnBrk="0" hangingPunct="1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lvl="0" defTabSz="914400" eaLnBrk="1" latinLnBrk="0" hangingPunct="1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lvl="0" defTabSz="914400" eaLnBrk="1" latinLnBrk="0" hangingPunct="1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defTabSz="914400" eaLnBrk="1" latinLnBrk="0" hangingPunct="1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lvl="0" defTabSz="914400" eaLnBrk="1" latinLnBrk="0" hangingPunct="1">
                        <a:buNone/>
                      </a:pPr>
                      <a:endParaRPr lang="en-US" sz="1400" kern="1200" dirty="0">
                        <a:solidFill>
                          <a:schemeClr val="dk1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defTabSz="914400" eaLnBrk="1" latinLnBrk="0" hangingPunct="1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defTabSz="914400" eaLnBrk="1" latinLnBrk="0" hangingPunct="1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lvl="0" defTabSz="914400" eaLnBrk="1" latinLnBrk="0" hangingPunct="1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lvl="0" defTabSz="914400" eaLnBrk="1" latinLnBrk="0" hangingPunct="1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lvl="0" defTabSz="914400" eaLnBrk="1" latinLnBrk="0" hangingPunct="1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55313382"/>
                  </a:ext>
                </a:extLst>
              </a:tr>
              <a:tr h="388528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ssue draft DB RFP for</a:t>
                      </a:r>
                      <a:r>
                        <a:rPr lang="en-US" sz="12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comment</a:t>
                      </a:r>
                      <a:endParaRPr lang="en-US" sz="12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en-US" sz="12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p 2018</a:t>
                      </a:r>
                    </a:p>
                  </a:txBody>
                  <a:tcPr marL="68580" marR="68580" marT="34290" marB="34290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defTabSz="914400" eaLnBrk="1" latinLnBrk="0" hangingPunct="1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lvl="0" defTabSz="914400" eaLnBrk="1" latinLnBrk="0" hangingPunct="1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lvl="0" defTabSz="914400" eaLnBrk="1" latinLnBrk="0" hangingPunct="1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lvl="0" defTabSz="914400" eaLnBrk="1" latinLnBrk="0" hangingPunct="1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lvl="0" defTabSz="914400" eaLnBrk="1" latinLnBrk="0" hangingPunct="1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defTabSz="914400" eaLnBrk="1" latinLnBrk="0" hangingPunct="1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defTabSz="914400" eaLnBrk="1" latinLnBrk="0" hangingPunct="1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defTabSz="914400" eaLnBrk="1" latinLnBrk="0" hangingPunct="1">
                        <a:buNone/>
                      </a:pPr>
                      <a:endParaRPr lang="en-US" sz="1400" kern="1200" dirty="0">
                        <a:solidFill>
                          <a:schemeClr val="dk1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lvl="0" defTabSz="914400" eaLnBrk="1" latinLnBrk="0" hangingPunct="1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defTabSz="914400" eaLnBrk="1" latinLnBrk="0" hangingPunct="1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lvl="0" defTabSz="914400" eaLnBrk="1" latinLnBrk="0" hangingPunct="1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lvl="0" defTabSz="914400" eaLnBrk="1" latinLnBrk="0" hangingPunct="1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lvl="0" defTabSz="914400" eaLnBrk="1" latinLnBrk="0" hangingPunct="1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28526087"/>
                  </a:ext>
                </a:extLst>
              </a:tr>
              <a:tr h="38852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2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ssue </a:t>
                      </a:r>
                      <a:r>
                        <a:rPr lang="en-US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inal DB </a:t>
                      </a:r>
                      <a:r>
                        <a:rPr lang="en-US" sz="12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FP</a:t>
                      </a:r>
                    </a:p>
                    <a:p>
                      <a:pPr marL="0" algn="l" defTabSz="914400" rtl="0" eaLnBrk="1" latinLnBrk="0" hangingPunct="1"/>
                      <a:r>
                        <a:rPr lang="en-US" sz="12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Q4 </a:t>
                      </a:r>
                      <a:r>
                        <a:rPr lang="en-US" sz="12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18</a:t>
                      </a:r>
                    </a:p>
                  </a:txBody>
                  <a:tcPr marL="68580" marR="68580" marT="34290" marB="34290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8852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sz="1200" b="1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Award DB Contract</a:t>
                      </a:r>
                      <a:endParaRPr lang="en-US" sz="1200" b="1" kern="1200" baseline="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en-US" sz="120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Early 2019</a:t>
                      </a:r>
                      <a:endParaRPr lang="en-US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1400" dirty="0"/>
                    </a:p>
                  </a:txBody>
                  <a:tcPr marL="68580" marR="68580" marT="34290" marB="3429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1400" dirty="0"/>
                    </a:p>
                  </a:txBody>
                  <a:tcPr marL="68580" marR="68580" marT="34290" marB="3429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1400" dirty="0"/>
                    </a:p>
                  </a:txBody>
                  <a:tcPr marL="68580" marR="68580" marT="34290" marB="3429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1400" dirty="0"/>
                    </a:p>
                  </a:txBody>
                  <a:tcPr marL="68580" marR="68580" marT="34290" marB="3429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1400" dirty="0"/>
                    </a:p>
                  </a:txBody>
                  <a:tcPr marL="68580" marR="68580" marT="34290" marB="3429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1400" dirty="0"/>
                    </a:p>
                  </a:txBody>
                  <a:tcPr marL="68580" marR="68580" marT="34290" marB="3429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1400" dirty="0"/>
                    </a:p>
                  </a:txBody>
                  <a:tcPr marL="68580" marR="68580" marT="34290" marB="3429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1400" dirty="0"/>
                    </a:p>
                  </a:txBody>
                  <a:tcPr marL="68580" marR="68580" marT="34290" marB="3429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88528">
                <a:tc>
                  <a:txBody>
                    <a:bodyPr/>
                    <a:lstStyle/>
                    <a:p>
                      <a:pPr lvl="0" algn="l" defTabSz="914400" eaLnBrk="1" latinLnBrk="0" hangingPunct="1">
                        <a:buNone/>
                      </a:pPr>
                      <a:r>
                        <a:rPr lang="en-US" sz="1200" b="1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Anticipated DB NTP</a:t>
                      </a:r>
                    </a:p>
                    <a:p>
                      <a:pPr lvl="0" algn="l" defTabSz="914400" eaLnBrk="1" latinLnBrk="0" hangingPunct="1">
                        <a:buNone/>
                      </a:pPr>
                      <a:r>
                        <a:rPr lang="en-US" sz="1200" b="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Mid </a:t>
                      </a:r>
                      <a:r>
                        <a:rPr lang="en-US" sz="12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68580" marR="68580" marT="34290" marB="3429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32656651"/>
                  </a:ext>
                </a:extLst>
              </a:tr>
              <a:tr h="388528">
                <a:tc>
                  <a:txBody>
                    <a:bodyPr/>
                    <a:lstStyle/>
                    <a:p>
                      <a:pPr lvl="0" algn="l" defTabSz="914400" eaLnBrk="1" latinLnBrk="0" hangingPunct="1">
                        <a:buNone/>
                      </a:pPr>
                      <a:r>
                        <a:rPr lang="en-US" sz="1200" b="1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Early site preparation design &amp; delivery</a:t>
                      </a:r>
                    </a:p>
                    <a:p>
                      <a:pPr lvl="0" algn="l" defTabSz="914400" eaLnBrk="1" latinLnBrk="0" hangingPunct="1">
                        <a:buNone/>
                      </a:pPr>
                      <a:r>
                        <a:rPr lang="en-US" sz="1200" b="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Starting</a:t>
                      </a:r>
                      <a:r>
                        <a:rPr lang="en-US" sz="1200" b="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m</a:t>
                      </a:r>
                      <a:r>
                        <a:rPr lang="en-US" sz="1200" b="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id 2019</a:t>
                      </a:r>
                    </a:p>
                  </a:txBody>
                  <a:tcPr marL="68580" marR="68580" marT="34290" marB="34290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A73B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01228085"/>
                  </a:ext>
                </a:extLst>
              </a:tr>
              <a:tr h="388528">
                <a:tc>
                  <a:txBody>
                    <a:bodyPr/>
                    <a:lstStyle/>
                    <a:p>
                      <a:pPr lvl="0" algn="l" defTabSz="914400" eaLnBrk="1" latinLnBrk="0" hangingPunct="1">
                        <a:buNone/>
                      </a:pPr>
                      <a:r>
                        <a:rPr lang="en-US" sz="1200" b="1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Pilot installation</a:t>
                      </a:r>
                      <a:r>
                        <a:rPr lang="en-US" sz="1200" b="1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design &amp; delivery</a:t>
                      </a:r>
                    </a:p>
                    <a:p>
                      <a:pPr lvl="0" algn="l" defTabSz="914400" eaLnBrk="1" latinLnBrk="0" hangingPunct="1">
                        <a:buNone/>
                      </a:pPr>
                      <a:r>
                        <a:rPr lang="en-US" sz="1200" b="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Starting late 2019</a:t>
                      </a:r>
                      <a:endParaRPr lang="en-US" sz="1200" b="0" kern="1200" dirty="0" smtClean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4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dirty="0" smtClean="0">
                          <a:solidFill>
                            <a:schemeClr val="bg1"/>
                          </a:solidFill>
                        </a:rPr>
                        <a:t>&gt;&gt;&gt;</a:t>
                      </a:r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A73B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232329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31888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AFC 2.0 Policy and Outreach Updat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Laurel Paget-Seekins, </a:t>
            </a:r>
            <a:r>
              <a:rPr lang="en-US" i="1" dirty="0" smtClean="0"/>
              <a:t>Director of Fare Policy and Analytic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33102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AFC 2.0 Policy Update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6775C4-FF83-4AA7-9695-AAC1C0A4B08C}" type="slidenum">
              <a:rPr kumimoji="0" lang="en-US" sz="788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788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0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PUBLIC </a:t>
            </a:r>
            <a:r>
              <a:rPr lang="en-US" dirty="0"/>
              <a:t>OUTREACH FOR AFC2.0 WILL PRIMARILY FOCUS ON THESE FOUR POLICY AREAS.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Data </a:t>
            </a:r>
            <a:r>
              <a:rPr lang="en-US" b="1" dirty="0"/>
              <a:t>Privacy</a:t>
            </a:r>
          </a:p>
          <a:p>
            <a:pPr marL="569913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Policy team working to catalog how the MBTA currently collects and stores customer data, internal data users discussing data needs and sharing requirements, outside counsel reviewing practices and policy areas</a:t>
            </a:r>
          </a:p>
          <a:p>
            <a:pPr marL="569913" lvl="1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Next Steps</a:t>
            </a:r>
            <a:r>
              <a:rPr lang="en-US" dirty="0" smtClean="0"/>
              <a:t>: external stakeholder conversations, draft policy for review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Access </a:t>
            </a:r>
            <a:r>
              <a:rPr lang="en-US" b="1" dirty="0"/>
              <a:t>to Fare Cards and Sales Locations</a:t>
            </a:r>
          </a:p>
          <a:p>
            <a:pPr marL="569913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Policy team working with AFC 2.0 team and SI to evaluate potential point of sale locations, developing technology requirements for cards distributed for free, identifying policy decisions</a:t>
            </a:r>
          </a:p>
          <a:p>
            <a:pPr marL="569913" lvl="1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Next Steps</a:t>
            </a:r>
            <a:r>
              <a:rPr lang="en-US" dirty="0" smtClean="0"/>
              <a:t>: public outreach on point of sale locations, discussions with social service and community organizations on programs for distributing cards for free 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Fare </a:t>
            </a:r>
            <a:r>
              <a:rPr lang="en-US" b="1" dirty="0"/>
              <a:t>Inspections/Proof of Payment</a:t>
            </a:r>
          </a:p>
          <a:p>
            <a:pPr marL="569913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Policy </a:t>
            </a:r>
            <a:r>
              <a:rPr lang="en-US" dirty="0"/>
              <a:t>team working with AFC 2.0 </a:t>
            </a:r>
            <a:r>
              <a:rPr lang="en-US" dirty="0" smtClean="0"/>
              <a:t>team and SI on requirements for inspection devices and business requirements for citation management software, identifying policy decisions</a:t>
            </a:r>
          </a:p>
          <a:p>
            <a:pPr marL="569913" lvl="1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Next Steps</a:t>
            </a:r>
            <a:r>
              <a:rPr lang="en-US" dirty="0" smtClean="0"/>
              <a:t>: outreach on inspection principles  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Fare </a:t>
            </a:r>
            <a:r>
              <a:rPr lang="en-US" b="1" dirty="0"/>
              <a:t>Structure and Products</a:t>
            </a:r>
          </a:p>
          <a:p>
            <a:pPr marL="569913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Policy team working with</a:t>
            </a:r>
            <a:r>
              <a:rPr lang="en-US" dirty="0"/>
              <a:t> AFC 2.0 </a:t>
            </a:r>
            <a:r>
              <a:rPr lang="en-US" dirty="0" smtClean="0"/>
              <a:t>team </a:t>
            </a:r>
            <a:r>
              <a:rPr lang="en-US" dirty="0"/>
              <a:t>and SI </a:t>
            </a:r>
            <a:r>
              <a:rPr lang="en-US" dirty="0" smtClean="0"/>
              <a:t>on translating existing fare policy into business requirements for initial AFC 2.0 tariff, RFR for revenue and ridership model released</a:t>
            </a:r>
          </a:p>
          <a:p>
            <a:pPr marL="569913" lvl="1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Next Steps</a:t>
            </a:r>
            <a:r>
              <a:rPr lang="en-US" dirty="0" smtClean="0"/>
              <a:t>: Award revenue and ridership model contract, draft initial tariff for review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48777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Board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Board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8567</TotalTime>
  <Words>892</Words>
  <Application>Microsoft Office PowerPoint</Application>
  <PresentationFormat>On-screen Show (4:3)</PresentationFormat>
  <Paragraphs>183</Paragraphs>
  <Slides>10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3" baseType="lpstr">
      <vt:lpstr>Office Theme</vt:lpstr>
      <vt:lpstr>2_Office Theme</vt:lpstr>
      <vt:lpstr>think-cell Slide</vt:lpstr>
      <vt:lpstr>AFC 2.0 Quarterly update to the  Fiscal &amp; Management Control Board</vt:lpstr>
      <vt:lpstr>Overview</vt:lpstr>
      <vt:lpstr>Design Review Update</vt:lpstr>
      <vt:lpstr>90 Day Outlook</vt:lpstr>
      <vt:lpstr>Peer learnings  - Vancouver</vt:lpstr>
      <vt:lpstr>Pilot Update</vt:lpstr>
      <vt:lpstr>Design-Build Update </vt:lpstr>
      <vt:lpstr>AFC 2.0 Policy and Outreach Update</vt:lpstr>
      <vt:lpstr>AFC 2.0 Policy Updates</vt:lpstr>
      <vt:lpstr>AFC2.0 Outreach Updates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FC2.0</dc:title>
  <dc:creator>Block-Schachter, David</dc:creator>
  <cp:lastModifiedBy>DAS</cp:lastModifiedBy>
  <cp:revision>622</cp:revision>
  <cp:lastPrinted>2017-11-11T22:28:40Z</cp:lastPrinted>
  <dcterms:created xsi:type="dcterms:W3CDTF">2017-01-10T16:59:40Z</dcterms:created>
  <dcterms:modified xsi:type="dcterms:W3CDTF">2018-08-13T18:01:02Z</dcterms:modified>
</cp:coreProperties>
</file>